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09" r:id="rId2"/>
    <p:sldId id="330" r:id="rId3"/>
    <p:sldId id="316" r:id="rId4"/>
    <p:sldId id="306" r:id="rId5"/>
    <p:sldId id="325" r:id="rId6"/>
    <p:sldId id="326" r:id="rId7"/>
    <p:sldId id="328" r:id="rId8"/>
    <p:sldId id="329" r:id="rId9"/>
    <p:sldId id="317" r:id="rId10"/>
    <p:sldId id="324" r:id="rId11"/>
  </p:sldIdLst>
  <p:sldSz cx="9144000" cy="6858000" type="screen4x3"/>
  <p:notesSz cx="6735763" cy="9866313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3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86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29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72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159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590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022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453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22">
          <p15:clr>
            <a:srgbClr val="A4A3A4"/>
          </p15:clr>
        </p15:guide>
        <p15:guide id="2" pos="2801">
          <p15:clr>
            <a:srgbClr val="A4A3A4"/>
          </p15:clr>
        </p15:guide>
        <p15:guide id="3" orient="horz" pos="1359">
          <p15:clr>
            <a:srgbClr val="A4A3A4"/>
          </p15:clr>
        </p15:guide>
        <p15:guide id="4" pos="5655">
          <p15:clr>
            <a:srgbClr val="A4A3A4"/>
          </p15:clr>
        </p15:guide>
        <p15:guide id="5" pos="10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08">
          <p15:clr>
            <a:srgbClr val="A4A3A4"/>
          </p15:clr>
        </p15:guide>
        <p15:guide id="4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CADB5"/>
    <a:srgbClr val="DCE2E5"/>
    <a:srgbClr val="898989"/>
    <a:srgbClr val="B0B0B0"/>
    <a:srgbClr val="0085A4"/>
    <a:srgbClr val="008EB0"/>
    <a:srgbClr val="525252"/>
    <a:srgbClr val="A3EDFF"/>
    <a:srgbClr val="85E8FF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46" autoAdjust="0"/>
    <p:restoredTop sz="94628" autoAdjust="0"/>
  </p:normalViewPr>
  <p:slideViewPr>
    <p:cSldViewPr snapToGrid="0" snapToObjects="1">
      <p:cViewPr varScale="1">
        <p:scale>
          <a:sx n="78" d="100"/>
          <a:sy n="78" d="100"/>
        </p:scale>
        <p:origin x="1698" y="84"/>
      </p:cViewPr>
      <p:guideLst>
        <p:guide orient="horz" pos="2022"/>
        <p:guide pos="2801"/>
        <p:guide orient="horz" pos="1359"/>
        <p:guide pos="5655"/>
        <p:guide pos="1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6250" y="619125"/>
            <a:ext cx="5788025" cy="434181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7762" y="5301564"/>
            <a:ext cx="5806583" cy="12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88501" y="9488289"/>
            <a:ext cx="185844" cy="183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74281" y="110066"/>
            <a:ext cx="64" cy="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47" indent="-118228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096" indent="-184629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661" indent="-127946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887" indent="-116608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159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590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022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453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56147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839631" y="3032269"/>
            <a:ext cx="4869019" cy="61555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40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839631" y="3968419"/>
            <a:ext cx="4664021" cy="461665"/>
          </a:xfrm>
        </p:spPr>
        <p:txBody>
          <a:bodyPr wrap="square">
            <a:spAutoFit/>
          </a:bodyPr>
          <a:lstStyle>
            <a:lvl1pPr>
              <a:defRPr sz="3000" baseline="0">
                <a:solidFill>
                  <a:schemeClr val="accent5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sub title</a:t>
            </a:r>
          </a:p>
        </p:txBody>
      </p:sp>
      <p:grpSp>
        <p:nvGrpSpPr>
          <p:cNvPr id="13" name="McK Title Elements" hidden="1"/>
          <p:cNvGrpSpPr>
            <a:grpSpLocks/>
          </p:cNvGrpSpPr>
          <p:nvPr userDrawn="1"/>
        </p:nvGrpSpPr>
        <p:grpSpPr bwMode="auto">
          <a:xfrm>
            <a:off x="839631" y="5583251"/>
            <a:ext cx="4664021" cy="625877"/>
            <a:chOff x="537729" y="4887295"/>
            <a:chExt cx="4935538" cy="613418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4887295"/>
              <a:ext cx="4935538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000" b="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000" b="0" baseline="0" noProof="0" smtClean="0">
                  <a:latin typeface="+mn-lt"/>
                </a:rPr>
                <a:t>Date</a:t>
              </a:r>
            </a:p>
          </p:txBody>
        </p:sp>
      </p:grpSp>
      <p:pic>
        <p:nvPicPr>
          <p:cNvPr id="16419" name="Picture 8" descr="marchio copia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24" r="49809" b="7175"/>
          <a:stretch>
            <a:fillRect/>
          </a:stretch>
        </p:blipFill>
        <p:spPr bwMode="auto">
          <a:xfrm>
            <a:off x="5099050" y="0"/>
            <a:ext cx="4044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3" name="Picture 8" descr="marchio copia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24" r="49809" b="7175"/>
          <a:stretch>
            <a:fillRect/>
          </a:stretch>
        </p:blipFill>
        <p:spPr bwMode="ltGray">
          <a:xfrm>
            <a:off x="5099050" y="0"/>
            <a:ext cx="40449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4" name="Picture 9" descr="marchio_logotip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513" y="257175"/>
            <a:ext cx="1254125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5" name="Picture 10" descr="puntini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3" y="2844800"/>
            <a:ext cx="3600450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ottotitolo 2"/>
          <p:cNvSpPr txBox="1">
            <a:spLocks/>
          </p:cNvSpPr>
          <p:nvPr userDrawn="1"/>
        </p:nvSpPr>
        <p:spPr bwMode="auto">
          <a:xfrm>
            <a:off x="755650" y="6272213"/>
            <a:ext cx="49530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44" tIns="45671" rIns="91344" bIns="45671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rgbClr val="10253F"/>
                </a:solidFill>
                <a:effectLst/>
                <a:latin typeface="Arial" pitchFamily="34" charset="0"/>
                <a:cs typeface="Arial" pitchFamily="34" charset="0"/>
              </a:rPr>
              <a:t>Boston   •    Delhi    •    London    •    Milan    •    Munich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839788" y="5571494"/>
            <a:ext cx="4664075" cy="307777"/>
          </a:xfrm>
        </p:spPr>
        <p:txBody>
          <a:bodyPr/>
          <a:lstStyle>
            <a:lvl1pPr>
              <a:defRPr sz="20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93763" y="663934"/>
            <a:ext cx="7781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961091" y="6538912"/>
            <a:ext cx="1777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b="1" dirty="0" smtClean="0"/>
              <a:t>/TITLE FILE PRESENTATION</a:t>
            </a:r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7251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fondo_retro_grigio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5" t="2489" r="3755" b="3320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elementi_retr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725" y="260350"/>
            <a:ext cx="3097213" cy="398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0"/>
          <p:cNvSpPr txBox="1">
            <a:spLocks noChangeArrowheads="1"/>
          </p:cNvSpPr>
          <p:nvPr userDrawn="1"/>
        </p:nvSpPr>
        <p:spPr bwMode="auto">
          <a:xfrm>
            <a:off x="3779838" y="4356100"/>
            <a:ext cx="1574800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lnSpc>
                <a:spcPts val="1600"/>
              </a:lnSpc>
              <a:defRPr/>
            </a:pPr>
            <a:r>
              <a:rPr lang="it-IT" sz="800" dirty="0" smtClean="0">
                <a:solidFill>
                  <a:srgbClr val="FFFFFF"/>
                </a:solidFill>
              </a:rPr>
              <a:t>BOSTON</a:t>
            </a:r>
            <a:br>
              <a:rPr lang="it-IT" sz="800" dirty="0" smtClean="0">
                <a:solidFill>
                  <a:srgbClr val="FFFFFF"/>
                </a:solidFill>
              </a:rPr>
            </a:br>
            <a:r>
              <a:rPr lang="it-IT" sz="800" dirty="0" smtClean="0">
                <a:solidFill>
                  <a:srgbClr val="FFFFFF"/>
                </a:solidFill>
              </a:rPr>
              <a:t>DELHI</a:t>
            </a:r>
            <a:br>
              <a:rPr lang="it-IT" sz="800" dirty="0" smtClean="0">
                <a:solidFill>
                  <a:srgbClr val="FFFFFF"/>
                </a:solidFill>
              </a:rPr>
            </a:br>
            <a:r>
              <a:rPr lang="it-IT" sz="800" dirty="0" smtClean="0">
                <a:solidFill>
                  <a:srgbClr val="FFFFFF"/>
                </a:solidFill>
              </a:rPr>
              <a:t>LONDON</a:t>
            </a:r>
            <a:br>
              <a:rPr lang="it-IT" sz="800" dirty="0" smtClean="0">
                <a:solidFill>
                  <a:srgbClr val="FFFFFF"/>
                </a:solidFill>
              </a:rPr>
            </a:br>
            <a:r>
              <a:rPr lang="it-IT" sz="800" dirty="0" smtClean="0">
                <a:solidFill>
                  <a:srgbClr val="FFFFFF"/>
                </a:solidFill>
              </a:rPr>
              <a:t>MILAN</a:t>
            </a:r>
            <a:br>
              <a:rPr lang="it-IT" sz="800" dirty="0" smtClean="0">
                <a:solidFill>
                  <a:srgbClr val="FFFFFF"/>
                </a:solidFill>
              </a:rPr>
            </a:br>
            <a:r>
              <a:rPr lang="it-IT" sz="800" dirty="0" smtClean="0">
                <a:solidFill>
                  <a:srgbClr val="FFFFFF"/>
                </a:solidFill>
              </a:rPr>
              <a:t>MUNICH</a:t>
            </a:r>
            <a:endParaRPr lang="en-US" sz="800" dirty="0" smtClean="0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006726" y="3541461"/>
            <a:ext cx="30972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info</a:t>
            </a:r>
          </a:p>
        </p:txBody>
      </p:sp>
      <p:sp>
        <p:nvSpPr>
          <p:cNvPr id="9" name="TextBox 10"/>
          <p:cNvSpPr txBox="1">
            <a:spLocks noChangeArrowheads="1"/>
          </p:cNvSpPr>
          <p:nvPr userDrawn="1"/>
        </p:nvSpPr>
        <p:spPr bwMode="auto">
          <a:xfrm>
            <a:off x="2156347" y="1833563"/>
            <a:ext cx="4885898" cy="7848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sz="4500" dirty="0" smtClean="0">
                <a:solidFill>
                  <a:schemeClr val="bg1"/>
                </a:solidFill>
              </a:rPr>
              <a:t>thank</a:t>
            </a:r>
            <a:r>
              <a:rPr lang="en-US" sz="4500" baseline="0" dirty="0" smtClean="0">
                <a:solidFill>
                  <a:schemeClr val="bg1"/>
                </a:solidFill>
              </a:rPr>
              <a:t> you</a:t>
            </a:r>
            <a:endParaRPr lang="en-US" sz="45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730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755239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63" name="Picture 6" descr="marchio_secondofoglio.pn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75" y="183796"/>
            <a:ext cx="4651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>
            <a:cxnSpLocks/>
          </p:cNvCxnSpPr>
          <p:nvPr/>
        </p:nvCxnSpPr>
        <p:spPr bwMode="auto">
          <a:xfrm>
            <a:off x="539750" y="1052513"/>
            <a:ext cx="8135938" cy="0"/>
          </a:xfrm>
          <a:prstGeom prst="line">
            <a:avLst/>
          </a:prstGeom>
          <a:ln w="3175" cmpd="sng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9"/>
          <p:cNvCxnSpPr>
            <a:cxnSpLocks/>
          </p:cNvCxnSpPr>
          <p:nvPr/>
        </p:nvCxnSpPr>
        <p:spPr bwMode="auto">
          <a:xfrm>
            <a:off x="539750" y="6372225"/>
            <a:ext cx="8135938" cy="0"/>
          </a:xfrm>
          <a:prstGeom prst="line">
            <a:avLst/>
          </a:prstGeom>
          <a:ln w="3175" cmpd="sng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099" y="257085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93763" y="663934"/>
            <a:ext cx="778192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93763" y="17818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539750" y="1076572"/>
            <a:ext cx="813593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43099" y="199568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7896544" y="1134293"/>
            <a:ext cx="779144" cy="101720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582295" y="1134292"/>
            <a:ext cx="1093393" cy="745084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587059" y="1134291"/>
            <a:ext cx="1088629" cy="216680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828341" y="1134291"/>
            <a:ext cx="847347" cy="1333054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/>
        </p:nvGrpSpPr>
        <p:grpSpPr bwMode="auto">
          <a:xfrm>
            <a:off x="539750" y="5999722"/>
            <a:ext cx="8135938" cy="346625"/>
            <a:chOff x="73" y="3936"/>
            <a:chExt cx="5593" cy="214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936"/>
              <a:ext cx="559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59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9900" indent="-469900" defTabSz="913429">
                <a:tabLst/>
              </a:pPr>
              <a:r>
                <a:rPr lang="en-US" sz="1000" baseline="0" noProof="0" dirty="0" smtClean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57" name="Slide Number Placeholder 1"/>
          <p:cNvSpPr txBox="1">
            <a:spLocks/>
          </p:cNvSpPr>
          <p:nvPr/>
        </p:nvSpPr>
        <p:spPr bwMode="auto">
          <a:xfrm>
            <a:off x="539750" y="653891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fld id="{42C328C1-A84F-4A39-A664-DBA00541A8C6}" type="slidenum">
              <a:rPr lang="en-US" sz="1000" b="1" smtClean="0">
                <a:solidFill>
                  <a:schemeClr val="accent5"/>
                </a:solidFill>
              </a:rPr>
              <a:pPr algn="l"/>
              <a:t>‹#›</a:t>
            </a:fld>
            <a:endParaRPr lang="en-US" sz="1000" b="1" dirty="0">
              <a:solidFill>
                <a:schemeClr val="accent5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 bwMode="auto">
          <a:xfrm>
            <a:off x="961091" y="6542425"/>
            <a:ext cx="1777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b="1" dirty="0" smtClean="0"/>
              <a:t>/TITLE FILE PRESENTATION</a:t>
            </a:r>
          </a:p>
        </p:txBody>
      </p:sp>
      <p:grpSp>
        <p:nvGrpSpPr>
          <p:cNvPr id="87" name="McK 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6973888" y="1309508"/>
            <a:ext cx="254000" cy="254000"/>
            <a:chOff x="1600" y="1600"/>
            <a:chExt cx="160" cy="160"/>
          </a:xfrm>
        </p:grpSpPr>
        <p:sp>
          <p:nvSpPr>
            <p:cNvPr id="88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1" name="TextBox 1"/>
          <p:cNvSpPr txBox="1">
            <a:spLocks noChangeArrowheads="1"/>
          </p:cNvSpPr>
          <p:nvPr/>
        </p:nvSpPr>
        <p:spPr bwMode="auto">
          <a:xfrm>
            <a:off x="6256756" y="6542425"/>
            <a:ext cx="241893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000" b="1" dirty="0" smtClean="0">
                <a:solidFill>
                  <a:srgbClr val="898989"/>
                </a:solidFill>
              </a:rPr>
              <a:t>HIGHLY</a:t>
            </a:r>
            <a:r>
              <a:rPr lang="en-US" sz="1000" b="1" baseline="0" dirty="0" smtClean="0">
                <a:solidFill>
                  <a:srgbClr val="898989"/>
                </a:solidFill>
              </a:rPr>
              <a:t> </a:t>
            </a:r>
            <a:r>
              <a:rPr lang="en-US" sz="1000" b="1" dirty="0" smtClean="0">
                <a:solidFill>
                  <a:srgbClr val="898989"/>
                </a:solidFill>
              </a:rPr>
              <a:t>CONFIDENTIAL</a:t>
            </a:r>
            <a:r>
              <a:rPr lang="en-US" sz="1000" dirty="0" smtClean="0">
                <a:solidFill>
                  <a:srgbClr val="898989"/>
                </a:solidFill>
              </a:rPr>
              <a:t> </a:t>
            </a:r>
            <a:r>
              <a:rPr lang="en-US" sz="1000" dirty="0">
                <a:solidFill>
                  <a:srgbClr val="898989"/>
                </a:solidFill>
              </a:rPr>
              <a:t>/ </a:t>
            </a:r>
            <a:r>
              <a:rPr lang="en-US" sz="1000" dirty="0" smtClean="0">
                <a:solidFill>
                  <a:srgbClr val="898989"/>
                </a:solidFill>
              </a:rPr>
              <a:t>©2015 V-Nova</a:t>
            </a:r>
            <a:endParaRPr lang="en-US" sz="1000" dirty="0">
              <a:solidFill>
                <a:srgbClr val="89898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5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600" b="0" baseline="0">
          <a:solidFill>
            <a:schemeClr val="accent5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39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10.emf"/><Relationship Id="rId15" Type="http://schemas.openxmlformats.org/officeDocument/2006/relationships/image" Target="../media/image22.png"/><Relationship Id="rId10" Type="http://schemas.openxmlformats.org/officeDocument/2006/relationships/image" Target="../media/image17.jpeg"/><Relationship Id="rId19" Type="http://schemas.openxmlformats.org/officeDocument/2006/relationships/image" Target="../media/image2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4.xml"/><Relationship Id="rId7" Type="http://schemas.openxmlformats.org/officeDocument/2006/relationships/image" Target="../media/image11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image" Target="../media/image10.emf"/><Relationship Id="rId2" Type="http://schemas.openxmlformats.org/officeDocument/2006/relationships/tags" Target="../tags/tag25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38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10.emf"/><Relationship Id="rId15" Type="http://schemas.openxmlformats.org/officeDocument/2006/relationships/image" Target="../media/image22.png"/><Relationship Id="rId10" Type="http://schemas.openxmlformats.org/officeDocument/2006/relationships/image" Target="../media/image17.jpeg"/><Relationship Id="rId19" Type="http://schemas.openxmlformats.org/officeDocument/2006/relationships/image" Target="../media/image26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631" y="1968335"/>
            <a:ext cx="4869019" cy="615553"/>
          </a:xfrm>
        </p:spPr>
        <p:txBody>
          <a:bodyPr/>
          <a:lstStyle/>
          <a:p>
            <a:r>
              <a:rPr lang="en-GB" dirty="0" smtClean="0"/>
              <a:t>PERSEUS</a:t>
            </a:r>
            <a:r>
              <a:rPr lang="en-GB" baseline="30000" dirty="0" smtClean="0"/>
              <a:t>®</a:t>
            </a:r>
            <a:endParaRPr lang="en-GB" baseline="30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631" y="3078732"/>
            <a:ext cx="4664021" cy="1384995"/>
          </a:xfrm>
        </p:spPr>
        <p:txBody>
          <a:bodyPr/>
          <a:lstStyle/>
          <a:p>
            <a:r>
              <a:rPr lang="en-GB" dirty="0" smtClean="0"/>
              <a:t>Image and Video Compression in the Age of Massive Parallelism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 smtClean="0"/>
              <a:t>20/05/2015</a:t>
            </a:r>
            <a:endParaRPr lang="en-GB" dirty="0"/>
          </a:p>
        </p:txBody>
      </p:sp>
      <p:sp>
        <p:nvSpPr>
          <p:cNvPr id="6" name="Rectangle 6"/>
          <p:cNvSpPr txBox="1"/>
          <p:nvPr/>
        </p:nvSpPr>
        <p:spPr>
          <a:xfrm>
            <a:off x="839787" y="4770100"/>
            <a:ext cx="352214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</a:rPr>
              <a:t>Balázs Keszthelyi</a:t>
            </a:r>
          </a:p>
          <a:p>
            <a:r>
              <a:rPr lang="en-US" b="1" dirty="0" smtClean="0">
                <a:solidFill>
                  <a:schemeClr val="bg1">
                    <a:lumMod val="50000"/>
                  </a:schemeClr>
                </a:solidFill>
              </a:rPr>
              <a:t>Perseus Research Group Lead</a:t>
            </a:r>
          </a:p>
        </p:txBody>
      </p:sp>
    </p:spTree>
    <p:extLst>
      <p:ext uri="{BB962C8B-B14F-4D97-AF65-F5344CB8AC3E}">
        <p14:creationId xmlns:p14="http://schemas.microsoft.com/office/powerpoint/2010/main" val="478245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000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-Nova </a:t>
            </a:r>
            <a:r>
              <a:rPr lang="en-GB" dirty="0" smtClean="0"/>
              <a:t>Recruiting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" b="13338"/>
          <a:stretch/>
        </p:blipFill>
        <p:spPr>
          <a:xfrm>
            <a:off x="0" y="1141480"/>
            <a:ext cx="3657600" cy="5136047"/>
          </a:xfrm>
          <a:prstGeom prst="rect">
            <a:avLst/>
          </a:prstGeom>
        </p:spPr>
      </p:pic>
      <p:sp>
        <p:nvSpPr>
          <p:cNvPr id="13" name="Rechteck 15"/>
          <p:cNvSpPr/>
          <p:nvPr/>
        </p:nvSpPr>
        <p:spPr>
          <a:xfrm rot="5400000" flipV="1">
            <a:off x="93670" y="2721625"/>
            <a:ext cx="5152105" cy="197575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3657602" y="4671411"/>
            <a:ext cx="501808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10"/>
          <p:cNvSpPr txBox="1"/>
          <p:nvPr/>
        </p:nvSpPr>
        <p:spPr>
          <a:xfrm>
            <a:off x="3634094" y="1141480"/>
            <a:ext cx="5055901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solidFill>
                  <a:schemeClr val="accent5"/>
                </a:solidFill>
              </a:rPr>
              <a:t>Let us challenge you!</a:t>
            </a:r>
            <a:endParaRPr lang="en-US" sz="1400" b="1" dirty="0">
              <a:solidFill>
                <a:schemeClr val="accent5"/>
              </a:solidFill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400" dirty="0" smtClean="0"/>
              <a:t>Should you be interested in joining V-Nova’s team of excellence on its mission to make the impossible possible, send your </a:t>
            </a:r>
            <a:r>
              <a:rPr lang="en-GB" sz="1400" b="1" dirty="0" smtClean="0"/>
              <a:t>CV</a:t>
            </a:r>
            <a:r>
              <a:rPr lang="en-GB" sz="1400" dirty="0" smtClean="0"/>
              <a:t> to: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400" b="1" dirty="0" smtClean="0"/>
              <a:t>balazs.keszthelyi@v-nova.com</a:t>
            </a: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400" b="1" dirty="0" smtClean="0"/>
              <a:t>e</a:t>
            </a:r>
            <a:r>
              <a:rPr lang="en-GB" sz="1400" b="1" dirty="0" smtClean="0"/>
              <a:t>mma.gilbert@v-nova.com</a:t>
            </a:r>
          </a:p>
        </p:txBody>
      </p:sp>
      <p:sp>
        <p:nvSpPr>
          <p:cNvPr id="33" name="Rectangle 10"/>
          <p:cNvSpPr txBox="1"/>
          <p:nvPr/>
        </p:nvSpPr>
        <p:spPr>
          <a:xfrm>
            <a:off x="3684407" y="4760577"/>
            <a:ext cx="399505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rgbClr val="0E326F"/>
                </a:solidFill>
              </a:rPr>
              <a:t>Consortium:</a:t>
            </a:r>
            <a:endParaRPr lang="en-US" sz="1400" b="1" dirty="0">
              <a:solidFill>
                <a:srgbClr val="0E326F"/>
              </a:solidFill>
            </a:endParaRPr>
          </a:p>
        </p:txBody>
      </p:sp>
      <p:pic>
        <p:nvPicPr>
          <p:cNvPr id="19" name="Picture 9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784" y="5749666"/>
            <a:ext cx="1062779" cy="584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14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546" y="5367205"/>
            <a:ext cx="1050475" cy="228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3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6519" y="5776885"/>
            <a:ext cx="1155375" cy="353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67" descr="ATOS Logo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74" b="21056"/>
          <a:stretch/>
        </p:blipFill>
        <p:spPr bwMode="auto">
          <a:xfrm>
            <a:off x="6692446" y="4937949"/>
            <a:ext cx="962025" cy="362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69" descr="Broadcom 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407" y="5811081"/>
            <a:ext cx="972180" cy="52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73" descr="Empixpro 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9465" y="4892995"/>
            <a:ext cx="953098" cy="289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75" descr="Hitachi 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524" y="4994632"/>
            <a:ext cx="1231973" cy="357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7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094" y="5037523"/>
            <a:ext cx="724813" cy="460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184" descr="Tata Sky Log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887" y="5367205"/>
            <a:ext cx="1104900" cy="390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65" descr="Aton Hawk 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684" y="5132650"/>
            <a:ext cx="548311" cy="653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6" b="6318"/>
          <a:stretch/>
        </p:blipFill>
        <p:spPr bwMode="auto">
          <a:xfrm>
            <a:off x="4726304" y="5908240"/>
            <a:ext cx="1081265" cy="4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51" descr="C:\Users\Giles Smyth\AppData\Local\Temp\wzea6f\Digital_intel\intel_rgb_3000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2751" y="5230088"/>
            <a:ext cx="731254" cy="482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02" descr="NVIDIA Logo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866" y="5471159"/>
            <a:ext cx="593021" cy="437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4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511" y="5770349"/>
            <a:ext cx="985236" cy="27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7045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jor Design Principles Behind PERSEUS</a:t>
            </a:r>
            <a:r>
              <a:rPr lang="en-GB" baseline="30000" dirty="0" smtClean="0"/>
              <a:t>®</a:t>
            </a:r>
            <a:endParaRPr lang="en-GB" baseline="30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61091" y="6519446"/>
            <a:ext cx="4713983" cy="338554"/>
          </a:xfrm>
        </p:spPr>
        <p:txBody>
          <a:bodyPr/>
          <a:lstStyle/>
          <a:p>
            <a:pPr algn="l"/>
            <a:r>
              <a:rPr lang="en-US" sz="1200" b="1" dirty="0" smtClean="0"/>
              <a:t>I</a:t>
            </a:r>
            <a:r>
              <a:rPr lang="en-GB" sz="1200" b="1" dirty="0" smtClean="0"/>
              <a:t>mage </a:t>
            </a:r>
            <a:r>
              <a:rPr lang="en-GB" sz="1200" b="1" dirty="0"/>
              <a:t>and Video Compression in the Age of Massive Parallelism</a:t>
            </a:r>
          </a:p>
          <a:p>
            <a:pPr algn="l"/>
            <a:endParaRPr lang="en-US" b="1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790832" y="1507524"/>
            <a:ext cx="76859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Aiming to become the fundamental compression of the following decades: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Less focus on psycho-visual optimizations, more focus on modelling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A more efficient representation of the signal to exploit correlations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Non-block based, uses global operators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Inherently massively parallel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Statistically savvy entropy coding and rate control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Hierarchical on every level, which resembles to human vision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Multi-scale support</a:t>
            </a:r>
          </a:p>
        </p:txBody>
      </p:sp>
    </p:spTree>
    <p:extLst>
      <p:ext uri="{BB962C8B-B14F-4D97-AF65-F5344CB8AC3E}">
        <p14:creationId xmlns:p14="http://schemas.microsoft.com/office/powerpoint/2010/main" val="20497052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107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hteck 15"/>
          <p:cNvSpPr/>
          <p:nvPr/>
        </p:nvSpPr>
        <p:spPr>
          <a:xfrm flipV="1">
            <a:off x="0" y="2036727"/>
            <a:ext cx="9144000" cy="894006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0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3763" y="417712"/>
            <a:ext cx="7781925" cy="492443"/>
          </a:xfrm>
        </p:spPr>
        <p:txBody>
          <a:bodyPr/>
          <a:lstStyle/>
          <a:p>
            <a:r>
              <a:rPr lang="en-GB" dirty="0" smtClean="0"/>
              <a:t>PERSEUS simultaneously provides high compression, high quality, low latency and multi-scale functionality using standard hardware and infrastructure</a:t>
            </a:r>
            <a:endParaRPr lang="en-GB" dirty="0"/>
          </a:p>
        </p:txBody>
      </p:sp>
      <p:grpSp>
        <p:nvGrpSpPr>
          <p:cNvPr id="75" name="Group 74"/>
          <p:cNvGrpSpPr/>
          <p:nvPr/>
        </p:nvGrpSpPr>
        <p:grpSpPr>
          <a:xfrm>
            <a:off x="923419" y="2560082"/>
            <a:ext cx="2823649" cy="2714512"/>
            <a:chOff x="624630" y="2838508"/>
            <a:chExt cx="2253116" cy="2166031"/>
          </a:xfrm>
        </p:grpSpPr>
        <p:sp>
          <p:nvSpPr>
            <p:cNvPr id="3" name="Isosceles Triangle 2"/>
            <p:cNvSpPr/>
            <p:nvPr/>
          </p:nvSpPr>
          <p:spPr>
            <a:xfrm>
              <a:off x="735537" y="2947252"/>
              <a:ext cx="2035628" cy="1948543"/>
            </a:xfrm>
            <a:prstGeom prst="triangle">
              <a:avLst/>
            </a:prstGeom>
            <a:solidFill>
              <a:schemeClr val="accent5"/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7" name="Oval 6"/>
            <p:cNvSpPr/>
            <p:nvPr/>
          </p:nvSpPr>
          <p:spPr>
            <a:xfrm>
              <a:off x="1642444" y="2838508"/>
              <a:ext cx="217488" cy="21748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2660258" y="4787051"/>
              <a:ext cx="217488" cy="21748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624630" y="4787051"/>
              <a:ext cx="217488" cy="21748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55" name="Rectangle 4"/>
          <p:cNvSpPr txBox="1"/>
          <p:nvPr/>
        </p:nvSpPr>
        <p:spPr>
          <a:xfrm>
            <a:off x="826333" y="1567104"/>
            <a:ext cx="301781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accent5"/>
                </a:solidFill>
              </a:rPr>
              <a:t>Better performance &amp; quality</a:t>
            </a:r>
            <a:endParaRPr lang="en-US" dirty="0">
              <a:solidFill>
                <a:schemeClr val="accent5"/>
              </a:solidFill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1699010" y="3723160"/>
            <a:ext cx="1272463" cy="1054886"/>
            <a:chOff x="6499350" y="2531757"/>
            <a:chExt cx="1272463" cy="1054886"/>
          </a:xfrm>
        </p:grpSpPr>
        <p:sp>
          <p:nvSpPr>
            <p:cNvPr id="54" name="Rectangle 5"/>
            <p:cNvSpPr txBox="1"/>
            <p:nvPr/>
          </p:nvSpPr>
          <p:spPr>
            <a:xfrm>
              <a:off x="6499350" y="2531757"/>
              <a:ext cx="127246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300" b="1" dirty="0" smtClean="0">
                  <a:solidFill>
                    <a:schemeClr val="bg1"/>
                  </a:solidFill>
                </a:rPr>
                <a:t>Broad applicability</a:t>
              </a:r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Rectangle 5"/>
            <p:cNvSpPr txBox="1"/>
            <p:nvPr/>
          </p:nvSpPr>
          <p:spPr>
            <a:xfrm>
              <a:off x="6572883" y="3186533"/>
              <a:ext cx="112539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300" b="1" dirty="0" smtClean="0">
                  <a:solidFill>
                    <a:schemeClr val="bg1"/>
                  </a:solidFill>
                </a:rPr>
                <a:t>Standard hardware</a:t>
              </a:r>
              <a:endParaRPr lang="en-US" sz="1300" b="1" dirty="0">
                <a:solidFill>
                  <a:schemeClr val="bg1"/>
                </a:solidFill>
              </a:endParaRPr>
            </a:p>
          </p:txBody>
        </p:sp>
        <p:cxnSp>
          <p:nvCxnSpPr>
            <p:cNvPr id="60" name="Straight Connector 59"/>
            <p:cNvCxnSpPr/>
            <p:nvPr/>
          </p:nvCxnSpPr>
          <p:spPr>
            <a:xfrm>
              <a:off x="6589316" y="3074588"/>
              <a:ext cx="10925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Rectangle 5"/>
          <p:cNvSpPr txBox="1"/>
          <p:nvPr/>
        </p:nvSpPr>
        <p:spPr>
          <a:xfrm>
            <a:off x="1461505" y="2298994"/>
            <a:ext cx="1752898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b="1" dirty="0" smtClean="0">
                <a:solidFill>
                  <a:schemeClr val="accent5"/>
                </a:solidFill>
              </a:rPr>
              <a:t>High compression</a:t>
            </a:r>
            <a:endParaRPr lang="en-US" sz="1300" b="1" dirty="0">
              <a:solidFill>
                <a:schemeClr val="accent5"/>
              </a:solidFill>
            </a:endParaRPr>
          </a:p>
        </p:txBody>
      </p:sp>
      <p:sp>
        <p:nvSpPr>
          <p:cNvPr id="63" name="Rectangle 5"/>
          <p:cNvSpPr txBox="1"/>
          <p:nvPr/>
        </p:nvSpPr>
        <p:spPr>
          <a:xfrm>
            <a:off x="923418" y="5299109"/>
            <a:ext cx="1075999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 smtClean="0">
                <a:solidFill>
                  <a:schemeClr val="accent5"/>
                </a:solidFill>
              </a:rPr>
              <a:t>High quality</a:t>
            </a:r>
            <a:endParaRPr lang="en-US" sz="1300" b="1" dirty="0">
              <a:solidFill>
                <a:schemeClr val="accent5"/>
              </a:solidFill>
            </a:endParaRPr>
          </a:p>
        </p:txBody>
      </p:sp>
      <p:sp>
        <p:nvSpPr>
          <p:cNvPr id="62" name="Rectangle 5"/>
          <p:cNvSpPr txBox="1"/>
          <p:nvPr/>
        </p:nvSpPr>
        <p:spPr>
          <a:xfrm>
            <a:off x="2471522" y="5299109"/>
            <a:ext cx="1275545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1300" b="1" dirty="0" smtClean="0">
                <a:solidFill>
                  <a:schemeClr val="accent5"/>
                </a:solidFill>
              </a:rPr>
              <a:t>Low latency</a:t>
            </a:r>
            <a:endParaRPr lang="en-US" sz="1300" b="1" dirty="0">
              <a:solidFill>
                <a:schemeClr val="accent5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5673621" y="2728555"/>
            <a:ext cx="2551090" cy="2441952"/>
            <a:chOff x="9835896" y="3933661"/>
            <a:chExt cx="2237826" cy="1938245"/>
          </a:xfrm>
        </p:grpSpPr>
        <p:sp>
          <p:nvSpPr>
            <p:cNvPr id="20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9835896" y="3933661"/>
              <a:ext cx="2237826" cy="1938245"/>
            </a:xfrm>
            <a:custGeom>
              <a:avLst/>
              <a:gdLst>
                <a:gd name="T0" fmla="*/ 3213 w 1527"/>
                <a:gd name="T1" fmla="*/ 2074 h 1364"/>
                <a:gd name="T2" fmla="*/ 1605 w 1527"/>
                <a:gd name="T3" fmla="*/ 0 h 1364"/>
                <a:gd name="T4" fmla="*/ 0 w 1527"/>
                <a:gd name="T5" fmla="*/ 2074 h 1364"/>
                <a:gd name="T6" fmla="*/ 3213 w 1527"/>
                <a:gd name="T7" fmla="*/ 2074 h 13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27"/>
                <a:gd name="T13" fmla="*/ 0 h 1364"/>
                <a:gd name="T14" fmla="*/ 1527 w 1527"/>
                <a:gd name="T15" fmla="*/ 1364 h 13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27" h="1364">
                  <a:moveTo>
                    <a:pt x="1526" y="1363"/>
                  </a:moveTo>
                  <a:lnTo>
                    <a:pt x="763" y="0"/>
                  </a:lnTo>
                  <a:lnTo>
                    <a:pt x="0" y="1363"/>
                  </a:lnTo>
                  <a:lnTo>
                    <a:pt x="1526" y="1363"/>
                  </a:lnTo>
                </a:path>
              </a:pathLst>
            </a:custGeom>
            <a:gradFill>
              <a:gsLst>
                <a:gs pos="52000">
                  <a:schemeClr val="accent5"/>
                </a:gs>
                <a:gs pos="100000">
                  <a:schemeClr val="accent1">
                    <a:tint val="44500"/>
                    <a:satMod val="160000"/>
                  </a:schemeClr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5400000" scaled="0"/>
            </a:gradFill>
            <a:ln w="19050" cap="rnd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en-US" sz="1300" b="1"/>
            </a:p>
          </p:txBody>
        </p:sp>
        <p:cxnSp>
          <p:nvCxnSpPr>
            <p:cNvPr id="40" name="Straight Connector 39"/>
            <p:cNvCxnSpPr/>
            <p:nvPr/>
          </p:nvCxnSpPr>
          <p:spPr>
            <a:xfrm>
              <a:off x="10224302" y="5208265"/>
              <a:ext cx="1472893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10604665" y="4549332"/>
              <a:ext cx="712519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Rectangle 4"/>
          <p:cNvSpPr txBox="1"/>
          <p:nvPr/>
        </p:nvSpPr>
        <p:spPr>
          <a:xfrm>
            <a:off x="5195477" y="1567104"/>
            <a:ext cx="352091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b="1" dirty="0" smtClean="0">
                <a:solidFill>
                  <a:schemeClr val="accent5"/>
                </a:solidFill>
              </a:rPr>
              <a:t>Multi-scale hierarchical architecture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64" name="Rectangle 5"/>
          <p:cNvSpPr txBox="1"/>
          <p:nvPr/>
        </p:nvSpPr>
        <p:spPr>
          <a:xfrm>
            <a:off x="6461121" y="3734087"/>
            <a:ext cx="97609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b="1" dirty="0" smtClean="0">
                <a:solidFill>
                  <a:schemeClr val="bg1"/>
                </a:solidFill>
              </a:rPr>
              <a:t>Continuous scalability</a:t>
            </a:r>
            <a:endParaRPr lang="en-US" sz="1300" b="1" dirty="0">
              <a:solidFill>
                <a:schemeClr val="bg1"/>
              </a:solidFill>
            </a:endParaRPr>
          </a:p>
        </p:txBody>
      </p:sp>
      <p:cxnSp>
        <p:nvCxnSpPr>
          <p:cNvPr id="71" name="Straight Arrow Connector 70"/>
          <p:cNvCxnSpPr/>
          <p:nvPr/>
        </p:nvCxnSpPr>
        <p:spPr>
          <a:xfrm flipH="1">
            <a:off x="5548199" y="2687075"/>
            <a:ext cx="1257973" cy="2395218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5"/>
          <p:cNvSpPr txBox="1"/>
          <p:nvPr/>
        </p:nvSpPr>
        <p:spPr>
          <a:xfrm>
            <a:off x="6128487" y="5222597"/>
            <a:ext cx="16669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300" b="1" dirty="0" smtClean="0">
                <a:solidFill>
                  <a:schemeClr val="accent5"/>
                </a:solidFill>
              </a:rPr>
              <a:t>Multi-scale</a:t>
            </a:r>
          </a:p>
          <a:p>
            <a:pPr algn="ctr"/>
            <a:r>
              <a:rPr lang="en-US" sz="1300" dirty="0" smtClean="0">
                <a:solidFill>
                  <a:schemeClr val="accent5"/>
                </a:solidFill>
              </a:rPr>
              <a:t>(single file &amp; format)</a:t>
            </a:r>
            <a:endParaRPr lang="en-US" sz="1300" dirty="0">
              <a:solidFill>
                <a:schemeClr val="accent5"/>
              </a:solidFill>
            </a:endParaRPr>
          </a:p>
        </p:txBody>
      </p:sp>
      <p:pic>
        <p:nvPicPr>
          <p:cNvPr id="42" name="Picture 383" descr="ANd9GcSzheqPDva-zf0gFJ0AIqvApuHDj7QdsBdlF4ipZrgHH_ZvssIp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933" y="3037304"/>
            <a:ext cx="460466" cy="45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388" descr="ANd9GcS4_KtIp099W8Ze994rRZPn92iwM-fv5OwVd4fPG14I5YLhe7Te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301" y="4641744"/>
            <a:ext cx="605730" cy="434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714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2" name="Object 19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76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8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ERSEUS technical architecture vs. state-of-the-art alternatives</a:t>
            </a:r>
            <a:endParaRPr lang="en-GB" dirty="0"/>
          </a:p>
        </p:txBody>
      </p:sp>
      <p:grpSp>
        <p:nvGrpSpPr>
          <p:cNvPr id="193" name="Group 192"/>
          <p:cNvGrpSpPr/>
          <p:nvPr/>
        </p:nvGrpSpPr>
        <p:grpSpPr>
          <a:xfrm>
            <a:off x="7790926" y="787596"/>
            <a:ext cx="1017715" cy="212366"/>
            <a:chOff x="7740200" y="291555"/>
            <a:chExt cx="997399" cy="212366"/>
          </a:xfrm>
        </p:grpSpPr>
        <p:sp>
          <p:nvSpPr>
            <p:cNvPr id="194" name="StickerRectangle"/>
            <p:cNvSpPr>
              <a:spLocks noChangeArrowheads="1"/>
            </p:cNvSpPr>
            <p:nvPr/>
          </p:nvSpPr>
          <p:spPr bwMode="auto">
            <a:xfrm>
              <a:off x="7740200" y="291555"/>
              <a:ext cx="997399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53E45"/>
                </a:buClr>
              </a:pPr>
              <a:r>
                <a:rPr lang="en-US" sz="1200" dirty="0" smtClean="0">
                  <a:solidFill>
                    <a:srgbClr val="808080"/>
                  </a:solidFill>
                  <a:latin typeface="Arial"/>
                </a:rPr>
                <a:t>PARTIAL LIST</a:t>
              </a:r>
              <a:endParaRPr lang="en-US" sz="12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195" name="AutoShape 31"/>
            <p:cNvCxnSpPr>
              <a:cxnSpLocks noChangeShapeType="1"/>
              <a:stCxn id="194" idx="2"/>
              <a:endCxn id="194" idx="4"/>
            </p:cNvCxnSpPr>
            <p:nvPr/>
          </p:nvCxnSpPr>
          <p:spPr bwMode="auto">
            <a:xfrm>
              <a:off x="7740200" y="291555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6" name="AutoShape 32"/>
            <p:cNvCxnSpPr>
              <a:cxnSpLocks noChangeShapeType="1"/>
              <a:stCxn id="194" idx="4"/>
              <a:endCxn id="194" idx="6"/>
            </p:cNvCxnSpPr>
            <p:nvPr/>
          </p:nvCxnSpPr>
          <p:spPr bwMode="auto">
            <a:xfrm>
              <a:off x="7740200" y="503921"/>
              <a:ext cx="9973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" name="Rectangle 3"/>
          <p:cNvSpPr/>
          <p:nvPr/>
        </p:nvSpPr>
        <p:spPr>
          <a:xfrm>
            <a:off x="7910285" y="378922"/>
            <a:ext cx="130629" cy="130629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7910285" y="557055"/>
            <a:ext cx="130629" cy="130629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39" name="Rectangle 10"/>
          <p:cNvSpPr>
            <a:spLocks noChangeArrowheads="1"/>
          </p:cNvSpPr>
          <p:nvPr/>
        </p:nvSpPr>
        <p:spPr bwMode="gray">
          <a:xfrm>
            <a:off x="8113737" y="369581"/>
            <a:ext cx="9235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400">
                <a:solidFill>
                  <a:schemeClr val="folHlink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1"/>
              </a:buClr>
              <a:buSzPct val="150000"/>
              <a:buFont typeface="Arial" charset="0"/>
              <a:buChar char="▪"/>
              <a:defRPr sz="1400">
                <a:solidFill>
                  <a:schemeClr val="folHlink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1"/>
              </a:buClr>
              <a:buSzPct val="89000"/>
              <a:buFont typeface="Arial" charset="0"/>
              <a:buChar char="–"/>
              <a:defRPr sz="1400">
                <a:solidFill>
                  <a:schemeClr val="folHlink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1"/>
              </a:buClr>
              <a:buSzPct val="120000"/>
              <a:buFont typeface="Arial" charset="0"/>
              <a:buChar char="▫"/>
              <a:defRPr sz="1400">
                <a:solidFill>
                  <a:schemeClr val="folHlink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9pPr>
          </a:lstStyle>
          <a:p>
            <a:r>
              <a:rPr lang="en-US" sz="1000" dirty="0" smtClean="0">
                <a:solidFill>
                  <a:schemeClr val="tx1"/>
                </a:solidFill>
              </a:rPr>
              <a:t>Beneficial</a:t>
            </a:r>
            <a:endParaRPr lang="en-US" sz="1000" baseline="30000" dirty="0">
              <a:solidFill>
                <a:schemeClr val="tx1"/>
              </a:solidFill>
            </a:endParaRPr>
          </a:p>
        </p:txBody>
      </p:sp>
      <p:sp>
        <p:nvSpPr>
          <p:cNvPr id="141" name="Rectangle 10"/>
          <p:cNvSpPr>
            <a:spLocks noChangeArrowheads="1"/>
          </p:cNvSpPr>
          <p:nvPr/>
        </p:nvSpPr>
        <p:spPr bwMode="gray">
          <a:xfrm>
            <a:off x="8113737" y="545425"/>
            <a:ext cx="9235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400">
                <a:solidFill>
                  <a:schemeClr val="folHlink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1"/>
              </a:buClr>
              <a:buSzPct val="150000"/>
              <a:buFont typeface="Arial" charset="0"/>
              <a:buChar char="▪"/>
              <a:defRPr sz="1400">
                <a:solidFill>
                  <a:schemeClr val="folHlink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1"/>
              </a:buClr>
              <a:buSzPct val="89000"/>
              <a:buFont typeface="Arial" charset="0"/>
              <a:buChar char="–"/>
              <a:defRPr sz="1400">
                <a:solidFill>
                  <a:schemeClr val="folHlink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1"/>
              </a:buClr>
              <a:buSzPct val="120000"/>
              <a:buFont typeface="Arial" charset="0"/>
              <a:buChar char="▫"/>
              <a:defRPr sz="1400">
                <a:solidFill>
                  <a:schemeClr val="folHlink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9pPr>
          </a:lstStyle>
          <a:p>
            <a:r>
              <a:rPr lang="en-US" sz="1000" dirty="0" smtClean="0">
                <a:solidFill>
                  <a:schemeClr val="tx1"/>
                </a:solidFill>
              </a:rPr>
              <a:t>Suboptimal</a:t>
            </a:r>
            <a:endParaRPr lang="en-US" sz="1000" baseline="30000" dirty="0">
              <a:solidFill>
                <a:schemeClr val="tx1"/>
              </a:solidFill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7433002" y="1167292"/>
            <a:ext cx="1637842" cy="5142027"/>
            <a:chOff x="7530976" y="1167292"/>
            <a:chExt cx="1637842" cy="5142027"/>
          </a:xfrm>
        </p:grpSpPr>
        <p:sp>
          <p:nvSpPr>
            <p:cNvPr id="130" name="TextBox 5"/>
            <p:cNvSpPr txBox="1"/>
            <p:nvPr>
              <p:custDataLst>
                <p:tags r:id="rId14"/>
              </p:custDataLst>
            </p:nvPr>
          </p:nvSpPr>
          <p:spPr>
            <a:xfrm>
              <a:off x="7595808" y="1167292"/>
              <a:ext cx="1508178" cy="5142027"/>
            </a:xfrm>
            <a:prstGeom prst="rect">
              <a:avLst/>
            </a:prstGeom>
            <a:solidFill>
              <a:schemeClr val="bg1">
                <a:lumMod val="95000"/>
                <a:alpha val="46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131" name="Rectangle 6"/>
            <p:cNvSpPr>
              <a:spLocks noChangeArrowheads="1"/>
            </p:cNvSpPr>
            <p:nvPr/>
          </p:nvSpPr>
          <p:spPr bwMode="gray">
            <a:xfrm>
              <a:off x="7837217" y="1179168"/>
              <a:ext cx="10253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rgbClr val="0E326F"/>
                  </a:solidFill>
                </a:rPr>
                <a:t>PERSEUS </a:t>
              </a:r>
              <a:endParaRPr lang="en-US" sz="1200" b="1" dirty="0">
                <a:solidFill>
                  <a:srgbClr val="0E326F"/>
                </a:solidFill>
              </a:endParaRPr>
            </a:p>
          </p:txBody>
        </p:sp>
        <p:sp>
          <p:nvSpPr>
            <p:cNvPr id="133" name="Freeform 103"/>
            <p:cNvSpPr>
              <a:spLocks/>
            </p:cNvSpPr>
            <p:nvPr/>
          </p:nvSpPr>
          <p:spPr bwMode="auto">
            <a:xfrm>
              <a:off x="8270169" y="1478872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03"/>
            <p:cNvSpPr>
              <a:spLocks/>
            </p:cNvSpPr>
            <p:nvPr/>
          </p:nvSpPr>
          <p:spPr bwMode="auto">
            <a:xfrm>
              <a:off x="8270169" y="1941383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03"/>
            <p:cNvSpPr>
              <a:spLocks/>
            </p:cNvSpPr>
            <p:nvPr/>
          </p:nvSpPr>
          <p:spPr bwMode="auto">
            <a:xfrm>
              <a:off x="8270169" y="2480300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103"/>
            <p:cNvSpPr>
              <a:spLocks/>
            </p:cNvSpPr>
            <p:nvPr/>
          </p:nvSpPr>
          <p:spPr bwMode="auto">
            <a:xfrm>
              <a:off x="8270169" y="2882402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03"/>
            <p:cNvSpPr>
              <a:spLocks/>
            </p:cNvSpPr>
            <p:nvPr/>
          </p:nvSpPr>
          <p:spPr bwMode="auto">
            <a:xfrm>
              <a:off x="8270169" y="3288007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10"/>
            <p:cNvSpPr>
              <a:spLocks noChangeArrowheads="1"/>
            </p:cNvSpPr>
            <p:nvPr/>
          </p:nvSpPr>
          <p:spPr bwMode="gray">
            <a:xfrm>
              <a:off x="7888113" y="3998274"/>
              <a:ext cx="9235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Fine grain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60" name="Freeform 99"/>
            <p:cNvSpPr>
              <a:spLocks/>
            </p:cNvSpPr>
            <p:nvPr/>
          </p:nvSpPr>
          <p:spPr bwMode="auto">
            <a:xfrm>
              <a:off x="8240459" y="3747732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99"/>
            <p:cNvSpPr>
              <a:spLocks/>
            </p:cNvSpPr>
            <p:nvPr/>
          </p:nvSpPr>
          <p:spPr bwMode="auto">
            <a:xfrm>
              <a:off x="8240459" y="4638250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61"/>
            <p:cNvSpPr>
              <a:spLocks/>
            </p:cNvSpPr>
            <p:nvPr/>
          </p:nvSpPr>
          <p:spPr bwMode="auto">
            <a:xfrm>
              <a:off x="8240459" y="5004053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162"/>
            <p:cNvSpPr>
              <a:spLocks/>
            </p:cNvSpPr>
            <p:nvPr/>
          </p:nvSpPr>
          <p:spPr bwMode="auto">
            <a:xfrm>
              <a:off x="8240459" y="5369856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66"/>
            <p:cNvSpPr>
              <a:spLocks/>
            </p:cNvSpPr>
            <p:nvPr/>
          </p:nvSpPr>
          <p:spPr bwMode="auto">
            <a:xfrm>
              <a:off x="8240459" y="5735659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Rectangle 10"/>
            <p:cNvSpPr>
              <a:spLocks noChangeArrowheads="1"/>
            </p:cNvSpPr>
            <p:nvPr/>
          </p:nvSpPr>
          <p:spPr bwMode="gray">
            <a:xfrm>
              <a:off x="7530976" y="5981177"/>
              <a:ext cx="1637842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E.g., Addition of psycho-visual optimization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cxnSp>
        <p:nvCxnSpPr>
          <p:cNvPr id="169" name="Straight Connector 168"/>
          <p:cNvCxnSpPr/>
          <p:nvPr/>
        </p:nvCxnSpPr>
        <p:spPr>
          <a:xfrm>
            <a:off x="4016325" y="1391998"/>
            <a:ext cx="0" cy="45891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/>
          <p:nvPr/>
        </p:nvCxnSpPr>
        <p:spPr>
          <a:xfrm flipH="1">
            <a:off x="4016325" y="1391998"/>
            <a:ext cx="49831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4" name="Group 173"/>
          <p:cNvGrpSpPr/>
          <p:nvPr/>
        </p:nvGrpSpPr>
        <p:grpSpPr>
          <a:xfrm>
            <a:off x="666367" y="1878972"/>
            <a:ext cx="8321402" cy="0"/>
            <a:chOff x="476367" y="2014217"/>
            <a:chExt cx="8321402" cy="0"/>
          </a:xfrm>
        </p:grpSpPr>
        <p:cxnSp>
          <p:nvCxnSpPr>
            <p:cNvPr id="175" name="Straight Connector 174"/>
            <p:cNvCxnSpPr/>
            <p:nvPr/>
          </p:nvCxnSpPr>
          <p:spPr>
            <a:xfrm flipH="1">
              <a:off x="3918853" y="2014217"/>
              <a:ext cx="487891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 flipH="1">
              <a:off x="476367" y="2014217"/>
              <a:ext cx="32574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1" name="Group 180"/>
          <p:cNvGrpSpPr/>
          <p:nvPr/>
        </p:nvGrpSpPr>
        <p:grpSpPr>
          <a:xfrm>
            <a:off x="666367" y="2362897"/>
            <a:ext cx="8321402" cy="0"/>
            <a:chOff x="476367" y="2548504"/>
            <a:chExt cx="8321402" cy="0"/>
          </a:xfrm>
        </p:grpSpPr>
        <p:cxnSp>
          <p:nvCxnSpPr>
            <p:cNvPr id="182" name="Straight Connector 181"/>
            <p:cNvCxnSpPr/>
            <p:nvPr/>
          </p:nvCxnSpPr>
          <p:spPr>
            <a:xfrm flipH="1">
              <a:off x="3918853" y="2548504"/>
              <a:ext cx="487891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flipH="1">
              <a:off x="476367" y="2548504"/>
              <a:ext cx="32574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4" name="Group 183"/>
          <p:cNvGrpSpPr/>
          <p:nvPr/>
        </p:nvGrpSpPr>
        <p:grpSpPr>
          <a:xfrm>
            <a:off x="666367" y="2763752"/>
            <a:ext cx="8321402" cy="1247"/>
            <a:chOff x="476367" y="2910112"/>
            <a:chExt cx="8321402" cy="1247"/>
          </a:xfrm>
        </p:grpSpPr>
        <p:cxnSp>
          <p:nvCxnSpPr>
            <p:cNvPr id="185" name="Straight Connector 184"/>
            <p:cNvCxnSpPr/>
            <p:nvPr/>
          </p:nvCxnSpPr>
          <p:spPr>
            <a:xfrm flipH="1">
              <a:off x="3918853" y="2910112"/>
              <a:ext cx="487891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7" name="Straight Connector 196"/>
            <p:cNvCxnSpPr/>
            <p:nvPr/>
          </p:nvCxnSpPr>
          <p:spPr>
            <a:xfrm flipH="1">
              <a:off x="476367" y="2911359"/>
              <a:ext cx="32574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0" name="Group 199"/>
          <p:cNvGrpSpPr/>
          <p:nvPr/>
        </p:nvGrpSpPr>
        <p:grpSpPr>
          <a:xfrm>
            <a:off x="666367" y="3161960"/>
            <a:ext cx="8321402" cy="0"/>
            <a:chOff x="476367" y="3271720"/>
            <a:chExt cx="8321402" cy="0"/>
          </a:xfrm>
        </p:grpSpPr>
        <p:cxnSp>
          <p:nvCxnSpPr>
            <p:cNvPr id="201" name="Straight Connector 200"/>
            <p:cNvCxnSpPr/>
            <p:nvPr/>
          </p:nvCxnSpPr>
          <p:spPr>
            <a:xfrm flipH="1">
              <a:off x="3918853" y="3271720"/>
              <a:ext cx="487891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/>
            <p:cNvCxnSpPr/>
            <p:nvPr/>
          </p:nvCxnSpPr>
          <p:spPr>
            <a:xfrm flipH="1">
              <a:off x="476367" y="3271720"/>
              <a:ext cx="3257433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3" name="Straight Connector 202"/>
          <p:cNvCxnSpPr/>
          <p:nvPr/>
        </p:nvCxnSpPr>
        <p:spPr>
          <a:xfrm flipH="1">
            <a:off x="4108853" y="4193363"/>
            <a:ext cx="487891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/>
        </p:nvCxnSpPr>
        <p:spPr>
          <a:xfrm flipH="1">
            <a:off x="666367" y="4193363"/>
            <a:ext cx="325743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/>
          <p:nvPr/>
        </p:nvCxnSpPr>
        <p:spPr>
          <a:xfrm flipH="1">
            <a:off x="4108853" y="4559166"/>
            <a:ext cx="487891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/>
          <p:nvPr/>
        </p:nvCxnSpPr>
        <p:spPr>
          <a:xfrm flipH="1">
            <a:off x="666367" y="4559166"/>
            <a:ext cx="325743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/>
        </p:nvCxnSpPr>
        <p:spPr>
          <a:xfrm flipH="1">
            <a:off x="4108853" y="4924969"/>
            <a:ext cx="487891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 flipH="1">
            <a:off x="666367" y="4924969"/>
            <a:ext cx="325743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/>
        </p:nvCxnSpPr>
        <p:spPr>
          <a:xfrm flipH="1">
            <a:off x="4108853" y="5290772"/>
            <a:ext cx="487891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/>
          <p:nvPr/>
        </p:nvCxnSpPr>
        <p:spPr>
          <a:xfrm flipH="1">
            <a:off x="666367" y="5290772"/>
            <a:ext cx="325743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/>
          <p:nvPr/>
        </p:nvCxnSpPr>
        <p:spPr>
          <a:xfrm flipH="1">
            <a:off x="4108853" y="5656575"/>
            <a:ext cx="487891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/>
        </p:nvCxnSpPr>
        <p:spPr>
          <a:xfrm flipH="1">
            <a:off x="666367" y="5656575"/>
            <a:ext cx="325743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tangle 11"/>
          <p:cNvSpPr>
            <a:spLocks noChangeArrowheads="1"/>
          </p:cNvSpPr>
          <p:nvPr/>
        </p:nvSpPr>
        <p:spPr bwMode="gray">
          <a:xfrm>
            <a:off x="693929" y="1449076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>
            <a:lvl1pPr algn="l" defTabSz="895350">
              <a:buClr>
                <a:schemeClr val="tx2"/>
              </a:buClr>
              <a:defRPr sz="1400">
                <a:solidFill>
                  <a:schemeClr val="folHlink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1"/>
              </a:buClr>
              <a:buSzPct val="150000"/>
              <a:buFont typeface="Arial" charset="0"/>
              <a:buChar char="▪"/>
              <a:defRPr sz="1400">
                <a:solidFill>
                  <a:schemeClr val="folHlink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1"/>
              </a:buClr>
              <a:buSzPct val="89000"/>
              <a:buFont typeface="Arial" charset="0"/>
              <a:buChar char="–"/>
              <a:defRPr sz="1400">
                <a:solidFill>
                  <a:schemeClr val="folHlink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1"/>
              </a:buClr>
              <a:buSzPct val="120000"/>
              <a:buFont typeface="Arial" charset="0"/>
              <a:buChar char="▫"/>
              <a:defRPr sz="1400">
                <a:solidFill>
                  <a:schemeClr val="folHlink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n-US" sz="1200" dirty="0">
                <a:solidFill>
                  <a:schemeClr val="tx1"/>
                </a:solidFill>
              </a:rPr>
              <a:t>Block based</a:t>
            </a:r>
          </a:p>
        </p:txBody>
      </p:sp>
      <p:sp>
        <p:nvSpPr>
          <p:cNvPr id="220" name="TextBox 7"/>
          <p:cNvSpPr txBox="1"/>
          <p:nvPr>
            <p:custDataLst>
              <p:tags r:id="rId3"/>
            </p:custDataLst>
          </p:nvPr>
        </p:nvSpPr>
        <p:spPr>
          <a:xfrm>
            <a:off x="335550" y="1399829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1" name="Rectangle 8"/>
          <p:cNvSpPr>
            <a:spLocks noChangeArrowheads="1"/>
          </p:cNvSpPr>
          <p:nvPr/>
        </p:nvSpPr>
        <p:spPr bwMode="gray">
          <a:xfrm>
            <a:off x="693929" y="1941383"/>
            <a:ext cx="31414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Frequency transforms</a:t>
            </a:r>
          </a:p>
        </p:txBody>
      </p:sp>
      <p:sp>
        <p:nvSpPr>
          <p:cNvPr id="222" name="TextBox 7"/>
          <p:cNvSpPr txBox="1"/>
          <p:nvPr>
            <p:custDataLst>
              <p:tags r:id="rId4"/>
            </p:custDataLst>
          </p:nvPr>
        </p:nvSpPr>
        <p:spPr>
          <a:xfrm>
            <a:off x="335550" y="1920173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3" name="Rectangle 14"/>
          <p:cNvSpPr>
            <a:spLocks noChangeArrowheads="1"/>
          </p:cNvSpPr>
          <p:nvPr/>
        </p:nvSpPr>
        <p:spPr bwMode="gray">
          <a:xfrm>
            <a:off x="693929" y="2445552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Spatial data dependency</a:t>
            </a:r>
          </a:p>
        </p:txBody>
      </p:sp>
      <p:sp>
        <p:nvSpPr>
          <p:cNvPr id="224" name="TextBox 7"/>
          <p:cNvSpPr txBox="1"/>
          <p:nvPr>
            <p:custDataLst>
              <p:tags r:id="rId5"/>
            </p:custDataLst>
          </p:nvPr>
        </p:nvSpPr>
        <p:spPr>
          <a:xfrm>
            <a:off x="335550" y="2435826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5" name="Rectangle 17"/>
          <p:cNvSpPr>
            <a:spLocks noChangeArrowheads="1"/>
          </p:cNvSpPr>
          <p:nvPr/>
        </p:nvSpPr>
        <p:spPr bwMode="gray">
          <a:xfrm>
            <a:off x="693929" y="2857574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Temporal data dependency (I-P-B)</a:t>
            </a:r>
          </a:p>
        </p:txBody>
      </p:sp>
      <p:sp>
        <p:nvSpPr>
          <p:cNvPr id="226" name="TextBox 7"/>
          <p:cNvSpPr txBox="1"/>
          <p:nvPr>
            <p:custDataLst>
              <p:tags r:id="rId6"/>
            </p:custDataLst>
          </p:nvPr>
        </p:nvSpPr>
        <p:spPr>
          <a:xfrm>
            <a:off x="335550" y="2815901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4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27" name="Rectangle 10"/>
          <p:cNvSpPr>
            <a:spLocks noChangeArrowheads="1"/>
          </p:cNvSpPr>
          <p:nvPr/>
        </p:nvSpPr>
        <p:spPr bwMode="gray">
          <a:xfrm>
            <a:off x="5043798" y="3472993"/>
            <a:ext cx="183570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algn="l" defTabSz="895350">
              <a:buClr>
                <a:schemeClr val="tx2"/>
              </a:buClr>
              <a:defRPr sz="1400">
                <a:solidFill>
                  <a:schemeClr val="folHlink"/>
                </a:solidFill>
                <a:latin typeface="Arial" charset="0"/>
              </a:defRPr>
            </a:lvl1pPr>
            <a:lvl2pPr marL="193675" indent="-192088" algn="l" defTabSz="895350">
              <a:buClr>
                <a:schemeClr val="tx1"/>
              </a:buClr>
              <a:buSzPct val="150000"/>
              <a:buFont typeface="Arial" charset="0"/>
              <a:buChar char="▪"/>
              <a:defRPr sz="1400">
                <a:solidFill>
                  <a:schemeClr val="folHlink"/>
                </a:solidFill>
                <a:latin typeface="Arial" charset="0"/>
              </a:defRPr>
            </a:lvl2pPr>
            <a:lvl3pPr marL="457200" indent="-261938" algn="l" defTabSz="895350">
              <a:buClr>
                <a:schemeClr val="tx1"/>
              </a:buClr>
              <a:buSzPct val="89000"/>
              <a:buFont typeface="Arial" charset="0"/>
              <a:buChar char="–"/>
              <a:defRPr sz="1400">
                <a:solidFill>
                  <a:schemeClr val="folHlink"/>
                </a:solidFill>
                <a:latin typeface="Arial" charset="0"/>
              </a:defRPr>
            </a:lvl3pPr>
            <a:lvl4pPr marL="614363" indent="-155575" algn="l" defTabSz="895350">
              <a:buClr>
                <a:schemeClr val="tx1"/>
              </a:buClr>
              <a:buSzPct val="120000"/>
              <a:buFont typeface="Arial" charset="0"/>
              <a:buChar char="▫"/>
              <a:defRPr sz="1400">
                <a:solidFill>
                  <a:schemeClr val="folHlink"/>
                </a:solidFill>
                <a:latin typeface="Arial" charset="0"/>
              </a:defRPr>
            </a:lvl4pPr>
            <a:lvl5pPr marL="746125" indent="-130175" algn="l" defTabSz="895350"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400">
                <a:solidFill>
                  <a:schemeClr val="folHlink"/>
                </a:solidFill>
                <a:latin typeface="Arial" charset="0"/>
              </a:defRPr>
            </a:lvl9pPr>
          </a:lstStyle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H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</a:rPr>
              <a:t>igher precision</a:t>
            </a:r>
            <a:endParaRPr lang="en-US" sz="1000" baseline="30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8" name="Rectangle 8"/>
          <p:cNvSpPr>
            <a:spLocks noChangeArrowheads="1"/>
          </p:cNvSpPr>
          <p:nvPr/>
        </p:nvSpPr>
        <p:spPr bwMode="gray">
          <a:xfrm>
            <a:off x="693929" y="3252528"/>
            <a:ext cx="31414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Block-based motion </a:t>
            </a:r>
            <a:r>
              <a:rPr lang="en-US" sz="1200" dirty="0" smtClean="0"/>
              <a:t>comp. w/ </a:t>
            </a:r>
            <a:r>
              <a:rPr lang="en-US" sz="1200" dirty="0"/>
              <a:t>motion </a:t>
            </a:r>
            <a:r>
              <a:rPr lang="en-US" sz="1200" dirty="0" smtClean="0"/>
              <a:t>vectors</a:t>
            </a:r>
            <a:endParaRPr lang="en-US" sz="1200" dirty="0"/>
          </a:p>
        </p:txBody>
      </p:sp>
      <p:sp>
        <p:nvSpPr>
          <p:cNvPr id="229" name="TextBox 7"/>
          <p:cNvSpPr txBox="1"/>
          <p:nvPr>
            <p:custDataLst>
              <p:tags r:id="rId7"/>
            </p:custDataLst>
          </p:nvPr>
        </p:nvSpPr>
        <p:spPr>
          <a:xfrm>
            <a:off x="335550" y="3203161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5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0" name="Rectangle 20"/>
          <p:cNvSpPr>
            <a:spLocks noChangeArrowheads="1"/>
          </p:cNvSpPr>
          <p:nvPr/>
        </p:nvSpPr>
        <p:spPr bwMode="gray">
          <a:xfrm>
            <a:off x="693929" y="3751522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M</a:t>
            </a:r>
            <a:r>
              <a:rPr lang="en-US" sz="1200" dirty="0" smtClean="0"/>
              <a:t>ulti-scale</a:t>
            </a:r>
            <a:endParaRPr lang="en-US" sz="1200" dirty="0"/>
          </a:p>
        </p:txBody>
      </p:sp>
      <p:sp>
        <p:nvSpPr>
          <p:cNvPr id="231" name="TextBox 7"/>
          <p:cNvSpPr txBox="1"/>
          <p:nvPr>
            <p:custDataLst>
              <p:tags r:id="rId8"/>
            </p:custDataLst>
          </p:nvPr>
        </p:nvSpPr>
        <p:spPr>
          <a:xfrm>
            <a:off x="335550" y="3709849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6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2" name="Rectangle 33"/>
          <p:cNvSpPr>
            <a:spLocks noChangeArrowheads="1"/>
          </p:cNvSpPr>
          <p:nvPr/>
        </p:nvSpPr>
        <p:spPr bwMode="gray">
          <a:xfrm>
            <a:off x="693929" y="4277876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Massively parallel entropy coding</a:t>
            </a:r>
          </a:p>
        </p:txBody>
      </p:sp>
      <p:sp>
        <p:nvSpPr>
          <p:cNvPr id="233" name="Freeform 99"/>
          <p:cNvSpPr>
            <a:spLocks/>
          </p:cNvSpPr>
          <p:nvPr/>
        </p:nvSpPr>
        <p:spPr bwMode="auto">
          <a:xfrm>
            <a:off x="8143035" y="4274086"/>
            <a:ext cx="218877" cy="207634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Freeform 103"/>
          <p:cNvSpPr>
            <a:spLocks/>
          </p:cNvSpPr>
          <p:nvPr/>
        </p:nvSpPr>
        <p:spPr bwMode="auto">
          <a:xfrm>
            <a:off x="4587522" y="4303882"/>
            <a:ext cx="159457" cy="14804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Freeform 103"/>
          <p:cNvSpPr>
            <a:spLocks/>
          </p:cNvSpPr>
          <p:nvPr/>
        </p:nvSpPr>
        <p:spPr bwMode="auto">
          <a:xfrm>
            <a:off x="5684138" y="4303882"/>
            <a:ext cx="159457" cy="14804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Freeform 103"/>
          <p:cNvSpPr>
            <a:spLocks/>
          </p:cNvSpPr>
          <p:nvPr/>
        </p:nvSpPr>
        <p:spPr bwMode="auto">
          <a:xfrm>
            <a:off x="6864611" y="4303882"/>
            <a:ext cx="159457" cy="14804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TextBox 7"/>
          <p:cNvSpPr txBox="1"/>
          <p:nvPr>
            <p:custDataLst>
              <p:tags r:id="rId9"/>
            </p:custDataLst>
          </p:nvPr>
        </p:nvSpPr>
        <p:spPr>
          <a:xfrm>
            <a:off x="335550" y="4234564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7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8" name="Rectangle 33"/>
          <p:cNvSpPr>
            <a:spLocks noChangeArrowheads="1"/>
          </p:cNvSpPr>
          <p:nvPr/>
        </p:nvSpPr>
        <p:spPr bwMode="gray">
          <a:xfrm>
            <a:off x="693929" y="4642040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Precise bitrate control</a:t>
            </a:r>
          </a:p>
        </p:txBody>
      </p:sp>
      <p:sp>
        <p:nvSpPr>
          <p:cNvPr id="239" name="TextBox 7"/>
          <p:cNvSpPr txBox="1"/>
          <p:nvPr>
            <p:custDataLst>
              <p:tags r:id="rId10"/>
            </p:custDataLst>
          </p:nvPr>
        </p:nvSpPr>
        <p:spPr>
          <a:xfrm>
            <a:off x="335550" y="4600367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8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40" name="Rectangle 25"/>
          <p:cNvSpPr>
            <a:spLocks noChangeArrowheads="1"/>
          </p:cNvSpPr>
          <p:nvPr/>
        </p:nvSpPr>
        <p:spPr bwMode="gray">
          <a:xfrm>
            <a:off x="693929" y="4995831"/>
            <a:ext cx="3141462" cy="224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Based on statistics </a:t>
            </a:r>
            <a:r>
              <a:rPr lang="en-US" sz="1200" dirty="0" smtClean="0"/>
              <a:t>and </a:t>
            </a:r>
            <a:r>
              <a:rPr lang="en-US" sz="1200" dirty="0"/>
              <a:t>entropy theory</a:t>
            </a:r>
          </a:p>
        </p:txBody>
      </p:sp>
      <p:sp>
        <p:nvSpPr>
          <p:cNvPr id="241" name="TextBox 7"/>
          <p:cNvSpPr txBox="1"/>
          <p:nvPr>
            <p:custDataLst>
              <p:tags r:id="rId11"/>
            </p:custDataLst>
          </p:nvPr>
        </p:nvSpPr>
        <p:spPr>
          <a:xfrm>
            <a:off x="335550" y="4966170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42" name="Rectangle 25"/>
          <p:cNvSpPr>
            <a:spLocks noChangeArrowheads="1"/>
          </p:cNvSpPr>
          <p:nvPr/>
        </p:nvSpPr>
        <p:spPr bwMode="gray">
          <a:xfrm>
            <a:off x="693929" y="5373646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Natively supporting machine vision</a:t>
            </a:r>
          </a:p>
        </p:txBody>
      </p:sp>
      <p:sp>
        <p:nvSpPr>
          <p:cNvPr id="243" name="TextBox 7"/>
          <p:cNvSpPr txBox="1"/>
          <p:nvPr>
            <p:custDataLst>
              <p:tags r:id="rId12"/>
            </p:custDataLst>
          </p:nvPr>
        </p:nvSpPr>
        <p:spPr>
          <a:xfrm>
            <a:off x="335550" y="5331973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0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44" name="Rectangle 25"/>
          <p:cNvSpPr>
            <a:spLocks noChangeArrowheads="1"/>
          </p:cNvSpPr>
          <p:nvPr/>
        </p:nvSpPr>
        <p:spPr bwMode="gray">
          <a:xfrm>
            <a:off x="693929" y="5739449"/>
            <a:ext cx="3141462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noAutofit/>
          </a:bodyPr>
          <a:lstStyle/>
          <a:p>
            <a:pPr marL="1587" lvl="1" defTabSz="895350">
              <a:spcBef>
                <a:spcPct val="50000"/>
              </a:spcBef>
              <a:buClr>
                <a:schemeClr val="tx1"/>
              </a:buClr>
              <a:buSzPct val="150000"/>
              <a:buFont typeface="Arial" charset="0"/>
              <a:buNone/>
            </a:pPr>
            <a:r>
              <a:rPr lang="en-US" sz="1200" dirty="0"/>
              <a:t>Substantial improvement potential</a:t>
            </a:r>
          </a:p>
        </p:txBody>
      </p:sp>
      <p:grpSp>
        <p:nvGrpSpPr>
          <p:cNvPr id="245" name="Group 244"/>
          <p:cNvGrpSpPr/>
          <p:nvPr/>
        </p:nvGrpSpPr>
        <p:grpSpPr>
          <a:xfrm>
            <a:off x="4194580" y="1179168"/>
            <a:ext cx="923569" cy="4734329"/>
            <a:chOff x="4325212" y="1179168"/>
            <a:chExt cx="923569" cy="4734329"/>
          </a:xfrm>
        </p:grpSpPr>
        <p:sp>
          <p:nvSpPr>
            <p:cNvPr id="246" name="Rectangle 23"/>
            <p:cNvSpPr>
              <a:spLocks noChangeArrowheads="1"/>
            </p:cNvSpPr>
            <p:nvPr/>
          </p:nvSpPr>
          <p:spPr bwMode="gray">
            <a:xfrm>
              <a:off x="4367976" y="1179168"/>
              <a:ext cx="838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rgbClr val="0E326F"/>
                  </a:solidFill>
                </a:rPr>
                <a:t>h.264/</a:t>
              </a:r>
              <a:r>
                <a:rPr lang="en-US" sz="1200" b="1" dirty="0" err="1" smtClean="0">
                  <a:solidFill>
                    <a:srgbClr val="0E326F"/>
                  </a:solidFill>
                </a:rPr>
                <a:t>AVC</a:t>
              </a:r>
              <a:endParaRPr lang="en-US" sz="1200" b="1" dirty="0">
                <a:solidFill>
                  <a:srgbClr val="0E326F"/>
                </a:solidFill>
              </a:endParaRPr>
            </a:p>
          </p:txBody>
        </p:sp>
        <p:sp>
          <p:nvSpPr>
            <p:cNvPr id="247" name="Rectangle 10"/>
            <p:cNvSpPr>
              <a:spLocks noChangeArrowheads="1"/>
            </p:cNvSpPr>
            <p:nvPr/>
          </p:nvSpPr>
          <p:spPr bwMode="gray">
            <a:xfrm>
              <a:off x="4344914" y="1695758"/>
              <a:ext cx="88416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Variable size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48" name="Freeform 99"/>
            <p:cNvSpPr>
              <a:spLocks/>
            </p:cNvSpPr>
            <p:nvPr/>
          </p:nvSpPr>
          <p:spPr bwMode="auto">
            <a:xfrm>
              <a:off x="4677558" y="1449076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Rectangle 10"/>
            <p:cNvSpPr>
              <a:spLocks noChangeArrowheads="1"/>
            </p:cNvSpPr>
            <p:nvPr/>
          </p:nvSpPr>
          <p:spPr bwMode="gray">
            <a:xfrm>
              <a:off x="4325212" y="2167808"/>
              <a:ext cx="9235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 err="1" smtClean="0">
                  <a:solidFill>
                    <a:schemeClr val="bg1">
                      <a:lumMod val="50000"/>
                    </a:schemeClr>
                  </a:solidFill>
                </a:rPr>
                <a:t>DCT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0" name="Freeform 99"/>
            <p:cNvSpPr>
              <a:spLocks/>
            </p:cNvSpPr>
            <p:nvPr/>
          </p:nvSpPr>
          <p:spPr bwMode="auto">
            <a:xfrm>
              <a:off x="4677558" y="1941383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99"/>
            <p:cNvSpPr>
              <a:spLocks/>
            </p:cNvSpPr>
            <p:nvPr/>
          </p:nvSpPr>
          <p:spPr bwMode="auto">
            <a:xfrm>
              <a:off x="4677558" y="2445552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99"/>
            <p:cNvSpPr>
              <a:spLocks/>
            </p:cNvSpPr>
            <p:nvPr/>
          </p:nvSpPr>
          <p:spPr bwMode="auto">
            <a:xfrm>
              <a:off x="4677558" y="2853784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99"/>
            <p:cNvSpPr>
              <a:spLocks/>
            </p:cNvSpPr>
            <p:nvPr/>
          </p:nvSpPr>
          <p:spPr bwMode="auto">
            <a:xfrm>
              <a:off x="4677558" y="3241044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103"/>
            <p:cNvSpPr>
              <a:spLocks/>
            </p:cNvSpPr>
            <p:nvPr/>
          </p:nvSpPr>
          <p:spPr bwMode="auto">
            <a:xfrm>
              <a:off x="4707268" y="3777528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103"/>
            <p:cNvSpPr>
              <a:spLocks/>
            </p:cNvSpPr>
            <p:nvPr/>
          </p:nvSpPr>
          <p:spPr bwMode="auto">
            <a:xfrm>
              <a:off x="4707268" y="4668046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103"/>
            <p:cNvSpPr>
              <a:spLocks/>
            </p:cNvSpPr>
            <p:nvPr/>
          </p:nvSpPr>
          <p:spPr bwMode="auto">
            <a:xfrm>
              <a:off x="4707268" y="5033849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103"/>
            <p:cNvSpPr>
              <a:spLocks/>
            </p:cNvSpPr>
            <p:nvPr/>
          </p:nvSpPr>
          <p:spPr bwMode="auto">
            <a:xfrm>
              <a:off x="4707268" y="5399652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103"/>
            <p:cNvSpPr>
              <a:spLocks/>
            </p:cNvSpPr>
            <p:nvPr/>
          </p:nvSpPr>
          <p:spPr bwMode="auto">
            <a:xfrm>
              <a:off x="4707268" y="5765455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9" name="Group 258"/>
          <p:cNvGrpSpPr/>
          <p:nvPr/>
        </p:nvGrpSpPr>
        <p:grpSpPr>
          <a:xfrm>
            <a:off x="5072053" y="1179168"/>
            <a:ext cx="1383625" cy="4734329"/>
            <a:chOff x="5269839" y="1179168"/>
            <a:chExt cx="1383625" cy="4734329"/>
          </a:xfrm>
        </p:grpSpPr>
        <p:sp>
          <p:nvSpPr>
            <p:cNvPr id="260" name="Rectangle 23"/>
            <p:cNvSpPr>
              <a:spLocks noChangeArrowheads="1"/>
            </p:cNvSpPr>
            <p:nvPr/>
          </p:nvSpPr>
          <p:spPr bwMode="gray">
            <a:xfrm>
              <a:off x="5531545" y="1179168"/>
              <a:ext cx="87337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rgbClr val="0E326F"/>
                  </a:solidFill>
                </a:rPr>
                <a:t>h.265/</a:t>
              </a:r>
              <a:r>
                <a:rPr lang="en-US" sz="1200" b="1" dirty="0" err="1" smtClean="0">
                  <a:solidFill>
                    <a:srgbClr val="0E326F"/>
                  </a:solidFill>
                </a:rPr>
                <a:t>HEVC</a:t>
              </a:r>
              <a:endParaRPr lang="en-US" sz="1200" b="1" dirty="0">
                <a:solidFill>
                  <a:srgbClr val="0E326F"/>
                </a:solidFill>
              </a:endParaRPr>
            </a:p>
          </p:txBody>
        </p:sp>
        <p:sp>
          <p:nvSpPr>
            <p:cNvPr id="261" name="Rectangle 10"/>
            <p:cNvSpPr>
              <a:spLocks noChangeArrowheads="1"/>
            </p:cNvSpPr>
            <p:nvPr/>
          </p:nvSpPr>
          <p:spPr bwMode="gray">
            <a:xfrm>
              <a:off x="5269839" y="1695758"/>
              <a:ext cx="138362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</a:rPr>
                <a:t>L</a:t>
              </a:r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arger blocks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62" name="Freeform 99"/>
            <p:cNvSpPr>
              <a:spLocks/>
            </p:cNvSpPr>
            <p:nvPr/>
          </p:nvSpPr>
          <p:spPr bwMode="auto">
            <a:xfrm>
              <a:off x="5852214" y="1449076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Rectangle 10"/>
            <p:cNvSpPr>
              <a:spLocks noChangeArrowheads="1"/>
            </p:cNvSpPr>
            <p:nvPr/>
          </p:nvSpPr>
          <p:spPr bwMode="gray">
            <a:xfrm>
              <a:off x="5499868" y="2167808"/>
              <a:ext cx="9235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 err="1" smtClean="0">
                  <a:solidFill>
                    <a:schemeClr val="bg1">
                      <a:lumMod val="50000"/>
                    </a:schemeClr>
                  </a:solidFill>
                </a:rPr>
                <a:t>DCT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64" name="Freeform 99"/>
            <p:cNvSpPr>
              <a:spLocks/>
            </p:cNvSpPr>
            <p:nvPr/>
          </p:nvSpPr>
          <p:spPr bwMode="auto">
            <a:xfrm>
              <a:off x="5852214" y="1941383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99"/>
            <p:cNvSpPr>
              <a:spLocks/>
            </p:cNvSpPr>
            <p:nvPr/>
          </p:nvSpPr>
          <p:spPr bwMode="auto">
            <a:xfrm>
              <a:off x="5852214" y="2445552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99"/>
            <p:cNvSpPr>
              <a:spLocks/>
            </p:cNvSpPr>
            <p:nvPr/>
          </p:nvSpPr>
          <p:spPr bwMode="auto">
            <a:xfrm>
              <a:off x="5852214" y="2853784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99"/>
            <p:cNvSpPr>
              <a:spLocks/>
            </p:cNvSpPr>
            <p:nvPr/>
          </p:nvSpPr>
          <p:spPr bwMode="auto">
            <a:xfrm>
              <a:off x="5852214" y="3241044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03"/>
            <p:cNvSpPr>
              <a:spLocks/>
            </p:cNvSpPr>
            <p:nvPr/>
          </p:nvSpPr>
          <p:spPr bwMode="auto">
            <a:xfrm>
              <a:off x="5881924" y="3777528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103"/>
            <p:cNvSpPr>
              <a:spLocks/>
            </p:cNvSpPr>
            <p:nvPr/>
          </p:nvSpPr>
          <p:spPr bwMode="auto">
            <a:xfrm>
              <a:off x="5881924" y="4668046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103"/>
            <p:cNvSpPr>
              <a:spLocks/>
            </p:cNvSpPr>
            <p:nvPr/>
          </p:nvSpPr>
          <p:spPr bwMode="auto">
            <a:xfrm>
              <a:off x="5881924" y="5033849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103"/>
            <p:cNvSpPr>
              <a:spLocks/>
            </p:cNvSpPr>
            <p:nvPr/>
          </p:nvSpPr>
          <p:spPr bwMode="auto">
            <a:xfrm>
              <a:off x="5881924" y="5399652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103"/>
            <p:cNvSpPr>
              <a:spLocks/>
            </p:cNvSpPr>
            <p:nvPr/>
          </p:nvSpPr>
          <p:spPr bwMode="auto">
            <a:xfrm>
              <a:off x="5881924" y="5765455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3" name="TextBox 7"/>
          <p:cNvSpPr txBox="1"/>
          <p:nvPr>
            <p:custDataLst>
              <p:tags r:id="rId13"/>
            </p:custDataLst>
          </p:nvPr>
        </p:nvSpPr>
        <p:spPr>
          <a:xfrm>
            <a:off x="335550" y="5697776"/>
            <a:ext cx="267897" cy="283401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1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74" name="Straight Connector 273"/>
          <p:cNvCxnSpPr/>
          <p:nvPr/>
        </p:nvCxnSpPr>
        <p:spPr>
          <a:xfrm flipH="1">
            <a:off x="4108853" y="3668648"/>
            <a:ext cx="487891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/>
        </p:nvCxnSpPr>
        <p:spPr>
          <a:xfrm flipH="1">
            <a:off x="666367" y="3668648"/>
            <a:ext cx="325743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6" name="Group 275"/>
          <p:cNvGrpSpPr/>
          <p:nvPr/>
        </p:nvGrpSpPr>
        <p:grpSpPr>
          <a:xfrm>
            <a:off x="6409582" y="1179168"/>
            <a:ext cx="1069515" cy="4734329"/>
            <a:chOff x="6674524" y="1179168"/>
            <a:chExt cx="1069515" cy="4734329"/>
          </a:xfrm>
        </p:grpSpPr>
        <p:sp>
          <p:nvSpPr>
            <p:cNvPr id="277" name="Rectangle 23"/>
            <p:cNvSpPr>
              <a:spLocks noChangeArrowheads="1"/>
            </p:cNvSpPr>
            <p:nvPr/>
          </p:nvSpPr>
          <p:spPr bwMode="gray">
            <a:xfrm>
              <a:off x="6674524" y="1179168"/>
              <a:ext cx="10695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200" b="1" dirty="0">
                  <a:solidFill>
                    <a:srgbClr val="0E326F"/>
                  </a:solidFill>
                </a:rPr>
                <a:t>JPEG2000</a:t>
              </a:r>
            </a:p>
          </p:txBody>
        </p:sp>
        <p:sp>
          <p:nvSpPr>
            <p:cNvPr id="278" name="Freeform 99"/>
            <p:cNvSpPr>
              <a:spLocks/>
            </p:cNvSpPr>
            <p:nvPr/>
          </p:nvSpPr>
          <p:spPr bwMode="auto">
            <a:xfrm>
              <a:off x="7099843" y="1449076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Rectangle 10"/>
            <p:cNvSpPr>
              <a:spLocks noChangeArrowheads="1"/>
            </p:cNvSpPr>
            <p:nvPr/>
          </p:nvSpPr>
          <p:spPr bwMode="gray">
            <a:xfrm>
              <a:off x="6747497" y="2167808"/>
              <a:ext cx="9235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Wavelets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80" name="Freeform 99"/>
            <p:cNvSpPr>
              <a:spLocks/>
            </p:cNvSpPr>
            <p:nvPr/>
          </p:nvSpPr>
          <p:spPr bwMode="auto">
            <a:xfrm>
              <a:off x="7099843" y="1941383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103"/>
            <p:cNvSpPr>
              <a:spLocks/>
            </p:cNvSpPr>
            <p:nvPr/>
          </p:nvSpPr>
          <p:spPr bwMode="auto">
            <a:xfrm>
              <a:off x="7129553" y="2480300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Rectangle 10"/>
            <p:cNvSpPr>
              <a:spLocks noChangeArrowheads="1"/>
            </p:cNvSpPr>
            <p:nvPr/>
          </p:nvSpPr>
          <p:spPr bwMode="gray">
            <a:xfrm>
              <a:off x="6747497" y="3998274"/>
              <a:ext cx="9235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algn="l" defTabSz="895350">
                <a:buClr>
                  <a:schemeClr val="tx2"/>
                </a:buClr>
                <a:defRPr sz="1400">
                  <a:solidFill>
                    <a:schemeClr val="folHlink"/>
                  </a:solidFill>
                  <a:latin typeface="Arial" charset="0"/>
                </a:defRPr>
              </a:lvl1pPr>
              <a:lvl2pPr marL="193675" indent="-192088" algn="l" defTabSz="895350">
                <a:buClr>
                  <a:schemeClr val="tx1"/>
                </a:buClr>
                <a:buSzPct val="150000"/>
                <a:buFont typeface="Arial" charset="0"/>
                <a:buChar char="▪"/>
                <a:defRPr sz="1400">
                  <a:solidFill>
                    <a:schemeClr val="folHlink"/>
                  </a:solidFill>
                  <a:latin typeface="Arial" charset="0"/>
                </a:defRPr>
              </a:lvl2pPr>
              <a:lvl3pPr marL="457200" indent="-261938" algn="l" defTabSz="895350">
                <a:buClr>
                  <a:schemeClr val="tx1"/>
                </a:buClr>
                <a:buSzPct val="89000"/>
                <a:buFont typeface="Arial" charset="0"/>
                <a:buChar char="–"/>
                <a:defRPr sz="1400">
                  <a:solidFill>
                    <a:schemeClr val="folHlink"/>
                  </a:solidFill>
                  <a:latin typeface="Arial" charset="0"/>
                </a:defRPr>
              </a:lvl3pPr>
              <a:lvl4pPr marL="614363" indent="-155575" algn="l" defTabSz="895350">
                <a:buClr>
                  <a:schemeClr val="tx1"/>
                </a:buClr>
                <a:buSzPct val="120000"/>
                <a:buFont typeface="Arial" charset="0"/>
                <a:buChar char="▫"/>
                <a:defRPr sz="1400">
                  <a:solidFill>
                    <a:schemeClr val="folHlink"/>
                  </a:solidFill>
                  <a:latin typeface="Arial" charset="0"/>
                </a:defRPr>
              </a:lvl4pPr>
              <a:lvl5pPr marL="746125" indent="-130175" algn="l" defTabSz="895350"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9000"/>
                <a:buFont typeface="Arial" charset="0"/>
                <a:buChar char="-"/>
                <a:defRPr sz="1400">
                  <a:solidFill>
                    <a:schemeClr val="folHlink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Coarse</a:t>
              </a: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000" dirty="0" smtClean="0">
                  <a:solidFill>
                    <a:schemeClr val="bg1">
                      <a:lumMod val="50000"/>
                    </a:schemeClr>
                  </a:solidFill>
                </a:rPr>
                <a:t>grain</a:t>
              </a:r>
              <a:endParaRPr lang="en-US" sz="1000" baseline="300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83" name="Freeform 99"/>
            <p:cNvSpPr>
              <a:spLocks/>
            </p:cNvSpPr>
            <p:nvPr/>
          </p:nvSpPr>
          <p:spPr bwMode="auto">
            <a:xfrm>
              <a:off x="7099843" y="3747732"/>
              <a:ext cx="218877" cy="207634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103"/>
            <p:cNvSpPr>
              <a:spLocks/>
            </p:cNvSpPr>
            <p:nvPr/>
          </p:nvSpPr>
          <p:spPr bwMode="auto">
            <a:xfrm>
              <a:off x="7129553" y="4668046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103"/>
            <p:cNvSpPr>
              <a:spLocks/>
            </p:cNvSpPr>
            <p:nvPr/>
          </p:nvSpPr>
          <p:spPr bwMode="auto">
            <a:xfrm>
              <a:off x="7129553" y="5033849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103"/>
            <p:cNvSpPr>
              <a:spLocks/>
            </p:cNvSpPr>
            <p:nvPr/>
          </p:nvSpPr>
          <p:spPr bwMode="auto">
            <a:xfrm>
              <a:off x="7129553" y="5399652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103"/>
            <p:cNvSpPr>
              <a:spLocks/>
            </p:cNvSpPr>
            <p:nvPr/>
          </p:nvSpPr>
          <p:spPr bwMode="auto">
            <a:xfrm>
              <a:off x="7129553" y="5765455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103"/>
            <p:cNvSpPr>
              <a:spLocks/>
            </p:cNvSpPr>
            <p:nvPr/>
          </p:nvSpPr>
          <p:spPr bwMode="auto">
            <a:xfrm>
              <a:off x="7129551" y="2882402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103"/>
            <p:cNvSpPr>
              <a:spLocks/>
            </p:cNvSpPr>
            <p:nvPr/>
          </p:nvSpPr>
          <p:spPr bwMode="auto">
            <a:xfrm>
              <a:off x="7129551" y="3288007"/>
              <a:ext cx="159457" cy="148042"/>
            </a:xfrm>
            <a:custGeom>
              <a:avLst/>
              <a:gdLst>
                <a:gd name="T0" fmla="*/ 1326 w 2880"/>
                <a:gd name="T1" fmla="*/ 2079 h 2674"/>
                <a:gd name="T2" fmla="*/ 1118 w 2880"/>
                <a:gd name="T3" fmla="*/ 2354 h 2674"/>
                <a:gd name="T4" fmla="*/ 929 w 2880"/>
                <a:gd name="T5" fmla="*/ 2544 h 2674"/>
                <a:gd name="T6" fmla="*/ 780 w 2880"/>
                <a:gd name="T7" fmla="*/ 2642 h 2674"/>
                <a:gd name="T8" fmla="*/ 702 w 2880"/>
                <a:gd name="T9" fmla="*/ 2669 h 2674"/>
                <a:gd name="T10" fmla="*/ 648 w 2880"/>
                <a:gd name="T11" fmla="*/ 2674 h 2674"/>
                <a:gd name="T12" fmla="*/ 484 w 2880"/>
                <a:gd name="T13" fmla="*/ 2641 h 2674"/>
                <a:gd name="T14" fmla="*/ 320 w 2880"/>
                <a:gd name="T15" fmla="*/ 2540 h 2674"/>
                <a:gd name="T16" fmla="*/ 160 w 2880"/>
                <a:gd name="T17" fmla="*/ 2371 h 2674"/>
                <a:gd name="T18" fmla="*/ 0 w 2880"/>
                <a:gd name="T19" fmla="*/ 2136 h 2674"/>
                <a:gd name="T20" fmla="*/ 86 w 2880"/>
                <a:gd name="T21" fmla="*/ 2139 h 2674"/>
                <a:gd name="T22" fmla="*/ 206 w 2880"/>
                <a:gd name="T23" fmla="*/ 2120 h 2674"/>
                <a:gd name="T24" fmla="*/ 408 w 2880"/>
                <a:gd name="T25" fmla="*/ 2030 h 2674"/>
                <a:gd name="T26" fmla="*/ 620 w 2880"/>
                <a:gd name="T27" fmla="*/ 1868 h 2674"/>
                <a:gd name="T28" fmla="*/ 843 w 2880"/>
                <a:gd name="T29" fmla="*/ 1638 h 2674"/>
                <a:gd name="T30" fmla="*/ 877 w 2880"/>
                <a:gd name="T31" fmla="*/ 1362 h 2674"/>
                <a:gd name="T32" fmla="*/ 694 w 2880"/>
                <a:gd name="T33" fmla="*/ 1147 h 2674"/>
                <a:gd name="T34" fmla="*/ 563 w 2880"/>
                <a:gd name="T35" fmla="*/ 948 h 2674"/>
                <a:gd name="T36" fmla="*/ 484 w 2880"/>
                <a:gd name="T37" fmla="*/ 767 h 2674"/>
                <a:gd name="T38" fmla="*/ 458 w 2880"/>
                <a:gd name="T39" fmla="*/ 602 h 2674"/>
                <a:gd name="T40" fmla="*/ 474 w 2880"/>
                <a:gd name="T41" fmla="*/ 503 h 2674"/>
                <a:gd name="T42" fmla="*/ 546 w 2880"/>
                <a:gd name="T43" fmla="*/ 361 h 2674"/>
                <a:gd name="T44" fmla="*/ 674 w 2880"/>
                <a:gd name="T45" fmla="*/ 208 h 2674"/>
                <a:gd name="T46" fmla="*/ 861 w 2880"/>
                <a:gd name="T47" fmla="*/ 42 h 2674"/>
                <a:gd name="T48" fmla="*/ 938 w 2880"/>
                <a:gd name="T49" fmla="*/ 111 h 2674"/>
                <a:gd name="T50" fmla="*/ 1003 w 2880"/>
                <a:gd name="T51" fmla="*/ 331 h 2674"/>
                <a:gd name="T52" fmla="*/ 1102 w 2880"/>
                <a:gd name="T53" fmla="*/ 547 h 2674"/>
                <a:gd name="T54" fmla="*/ 1232 w 2880"/>
                <a:gd name="T55" fmla="*/ 760 h 2674"/>
                <a:gd name="T56" fmla="*/ 1465 w 2880"/>
                <a:gd name="T57" fmla="*/ 887 h 2674"/>
                <a:gd name="T58" fmla="*/ 1641 w 2880"/>
                <a:gd name="T59" fmla="*/ 679 h 2674"/>
                <a:gd name="T60" fmla="*/ 1866 w 2880"/>
                <a:gd name="T61" fmla="*/ 468 h 2674"/>
                <a:gd name="T62" fmla="*/ 2081 w 2880"/>
                <a:gd name="T63" fmla="*/ 334 h 2674"/>
                <a:gd name="T64" fmla="*/ 2209 w 2880"/>
                <a:gd name="T65" fmla="*/ 289 h 2674"/>
                <a:gd name="T66" fmla="*/ 2308 w 2880"/>
                <a:gd name="T67" fmla="*/ 274 h 2674"/>
                <a:gd name="T68" fmla="*/ 2406 w 2880"/>
                <a:gd name="T69" fmla="*/ 281 h 2674"/>
                <a:gd name="T70" fmla="*/ 2540 w 2880"/>
                <a:gd name="T71" fmla="*/ 340 h 2674"/>
                <a:gd name="T72" fmla="*/ 2655 w 2880"/>
                <a:gd name="T73" fmla="*/ 456 h 2674"/>
                <a:gd name="T74" fmla="*/ 2751 w 2880"/>
                <a:gd name="T75" fmla="*/ 630 h 2674"/>
                <a:gd name="T76" fmla="*/ 2755 w 2880"/>
                <a:gd name="T77" fmla="*/ 734 h 2674"/>
                <a:gd name="T78" fmla="*/ 2692 w 2880"/>
                <a:gd name="T79" fmla="*/ 735 h 2674"/>
                <a:gd name="T80" fmla="*/ 2609 w 2880"/>
                <a:gd name="T81" fmla="*/ 758 h 2674"/>
                <a:gd name="T82" fmla="*/ 2401 w 2880"/>
                <a:gd name="T83" fmla="*/ 873 h 2674"/>
                <a:gd name="T84" fmla="*/ 2222 w 2880"/>
                <a:gd name="T85" fmla="*/ 1012 h 2674"/>
                <a:gd name="T86" fmla="*/ 2010 w 2880"/>
                <a:gd name="T87" fmla="*/ 1221 h 2674"/>
                <a:gd name="T88" fmla="*/ 1917 w 2880"/>
                <a:gd name="T89" fmla="*/ 1531 h 2674"/>
                <a:gd name="T90" fmla="*/ 2091 w 2880"/>
                <a:gd name="T91" fmla="*/ 1682 h 2674"/>
                <a:gd name="T92" fmla="*/ 2329 w 2880"/>
                <a:gd name="T93" fmla="*/ 1837 h 2674"/>
                <a:gd name="T94" fmla="*/ 2570 w 2880"/>
                <a:gd name="T95" fmla="*/ 1933 h 2674"/>
                <a:gd name="T96" fmla="*/ 2817 w 2880"/>
                <a:gd name="T97" fmla="*/ 1976 h 2674"/>
                <a:gd name="T98" fmla="*/ 2813 w 2880"/>
                <a:gd name="T99" fmla="*/ 2104 h 2674"/>
                <a:gd name="T100" fmla="*/ 2674 w 2880"/>
                <a:gd name="T101" fmla="*/ 2308 h 2674"/>
                <a:gd name="T102" fmla="*/ 2535 w 2880"/>
                <a:gd name="T103" fmla="*/ 2444 h 2674"/>
                <a:gd name="T104" fmla="*/ 2391 w 2880"/>
                <a:gd name="T105" fmla="*/ 2510 h 2674"/>
                <a:gd name="T106" fmla="*/ 2318 w 2880"/>
                <a:gd name="T107" fmla="*/ 2519 h 2674"/>
                <a:gd name="T108" fmla="*/ 2172 w 2880"/>
                <a:gd name="T109" fmla="*/ 2491 h 2674"/>
                <a:gd name="T110" fmla="*/ 1996 w 2880"/>
                <a:gd name="T111" fmla="*/ 2403 h 2674"/>
                <a:gd name="T112" fmla="*/ 1790 w 2880"/>
                <a:gd name="T113" fmla="*/ 2259 h 2674"/>
                <a:gd name="T114" fmla="*/ 1556 w 2880"/>
                <a:gd name="T115" fmla="*/ 2057 h 2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80" h="2674">
                  <a:moveTo>
                    <a:pt x="1424" y="1937"/>
                  </a:moveTo>
                  <a:lnTo>
                    <a:pt x="1382" y="1997"/>
                  </a:lnTo>
                  <a:lnTo>
                    <a:pt x="1382" y="1997"/>
                  </a:lnTo>
                  <a:lnTo>
                    <a:pt x="1326" y="2079"/>
                  </a:lnTo>
                  <a:lnTo>
                    <a:pt x="1273" y="2157"/>
                  </a:lnTo>
                  <a:lnTo>
                    <a:pt x="1220" y="2227"/>
                  </a:lnTo>
                  <a:lnTo>
                    <a:pt x="1167" y="2294"/>
                  </a:lnTo>
                  <a:lnTo>
                    <a:pt x="1118" y="2354"/>
                  </a:lnTo>
                  <a:lnTo>
                    <a:pt x="1069" y="2410"/>
                  </a:lnTo>
                  <a:lnTo>
                    <a:pt x="1021" y="2459"/>
                  </a:lnTo>
                  <a:lnTo>
                    <a:pt x="973" y="2505"/>
                  </a:lnTo>
                  <a:lnTo>
                    <a:pt x="929" y="2544"/>
                  </a:lnTo>
                  <a:lnTo>
                    <a:pt x="885" y="2579"/>
                  </a:lnTo>
                  <a:lnTo>
                    <a:pt x="843" y="2607"/>
                  </a:lnTo>
                  <a:lnTo>
                    <a:pt x="801" y="2632"/>
                  </a:lnTo>
                  <a:lnTo>
                    <a:pt x="780" y="2642"/>
                  </a:lnTo>
                  <a:lnTo>
                    <a:pt x="760" y="2649"/>
                  </a:lnTo>
                  <a:lnTo>
                    <a:pt x="741" y="2658"/>
                  </a:lnTo>
                  <a:lnTo>
                    <a:pt x="722" y="2663"/>
                  </a:lnTo>
                  <a:lnTo>
                    <a:pt x="702" y="2669"/>
                  </a:lnTo>
                  <a:lnTo>
                    <a:pt x="685" y="2670"/>
                  </a:lnTo>
                  <a:lnTo>
                    <a:pt x="665" y="2674"/>
                  </a:lnTo>
                  <a:lnTo>
                    <a:pt x="648" y="2674"/>
                  </a:lnTo>
                  <a:lnTo>
                    <a:pt x="648" y="2674"/>
                  </a:lnTo>
                  <a:lnTo>
                    <a:pt x="606" y="2672"/>
                  </a:lnTo>
                  <a:lnTo>
                    <a:pt x="565" y="2665"/>
                  </a:lnTo>
                  <a:lnTo>
                    <a:pt x="525" y="2655"/>
                  </a:lnTo>
                  <a:lnTo>
                    <a:pt x="484" y="2641"/>
                  </a:lnTo>
                  <a:lnTo>
                    <a:pt x="444" y="2621"/>
                  </a:lnTo>
                  <a:lnTo>
                    <a:pt x="401" y="2598"/>
                  </a:lnTo>
                  <a:lnTo>
                    <a:pt x="361" y="2572"/>
                  </a:lnTo>
                  <a:lnTo>
                    <a:pt x="320" y="2540"/>
                  </a:lnTo>
                  <a:lnTo>
                    <a:pt x="280" y="2503"/>
                  </a:lnTo>
                  <a:lnTo>
                    <a:pt x="239" y="2465"/>
                  </a:lnTo>
                  <a:lnTo>
                    <a:pt x="201" y="2421"/>
                  </a:lnTo>
                  <a:lnTo>
                    <a:pt x="160" y="2371"/>
                  </a:lnTo>
                  <a:lnTo>
                    <a:pt x="120" y="2319"/>
                  </a:lnTo>
                  <a:lnTo>
                    <a:pt x="79" y="2262"/>
                  </a:lnTo>
                  <a:lnTo>
                    <a:pt x="40" y="2201"/>
                  </a:lnTo>
                  <a:lnTo>
                    <a:pt x="0" y="2136"/>
                  </a:lnTo>
                  <a:lnTo>
                    <a:pt x="0" y="2136"/>
                  </a:lnTo>
                  <a:lnTo>
                    <a:pt x="63" y="2139"/>
                  </a:lnTo>
                  <a:lnTo>
                    <a:pt x="63" y="2139"/>
                  </a:lnTo>
                  <a:lnTo>
                    <a:pt x="86" y="2139"/>
                  </a:lnTo>
                  <a:lnTo>
                    <a:pt x="111" y="2137"/>
                  </a:lnTo>
                  <a:lnTo>
                    <a:pt x="134" y="2134"/>
                  </a:lnTo>
                  <a:lnTo>
                    <a:pt x="158" y="2130"/>
                  </a:lnTo>
                  <a:lnTo>
                    <a:pt x="206" y="2120"/>
                  </a:lnTo>
                  <a:lnTo>
                    <a:pt x="255" y="2104"/>
                  </a:lnTo>
                  <a:lnTo>
                    <a:pt x="306" y="2083"/>
                  </a:lnTo>
                  <a:lnTo>
                    <a:pt x="357" y="2058"/>
                  </a:lnTo>
                  <a:lnTo>
                    <a:pt x="408" y="2030"/>
                  </a:lnTo>
                  <a:lnTo>
                    <a:pt x="459" y="1997"/>
                  </a:lnTo>
                  <a:lnTo>
                    <a:pt x="512" y="1958"/>
                  </a:lnTo>
                  <a:lnTo>
                    <a:pt x="565" y="1916"/>
                  </a:lnTo>
                  <a:lnTo>
                    <a:pt x="620" y="1868"/>
                  </a:lnTo>
                  <a:lnTo>
                    <a:pt x="674" y="1817"/>
                  </a:lnTo>
                  <a:lnTo>
                    <a:pt x="731" y="1763"/>
                  </a:lnTo>
                  <a:lnTo>
                    <a:pt x="785" y="1701"/>
                  </a:lnTo>
                  <a:lnTo>
                    <a:pt x="843" y="1638"/>
                  </a:lnTo>
                  <a:lnTo>
                    <a:pt x="900" y="1567"/>
                  </a:lnTo>
                  <a:lnTo>
                    <a:pt x="977" y="1471"/>
                  </a:lnTo>
                  <a:lnTo>
                    <a:pt x="877" y="1362"/>
                  </a:lnTo>
                  <a:lnTo>
                    <a:pt x="877" y="1362"/>
                  </a:lnTo>
                  <a:lnTo>
                    <a:pt x="827" y="1307"/>
                  </a:lnTo>
                  <a:lnTo>
                    <a:pt x="778" y="1253"/>
                  </a:lnTo>
                  <a:lnTo>
                    <a:pt x="734" y="1198"/>
                  </a:lnTo>
                  <a:lnTo>
                    <a:pt x="694" y="1147"/>
                  </a:lnTo>
                  <a:lnTo>
                    <a:pt x="657" y="1096"/>
                  </a:lnTo>
                  <a:lnTo>
                    <a:pt x="621" y="1045"/>
                  </a:lnTo>
                  <a:lnTo>
                    <a:pt x="590" y="996"/>
                  </a:lnTo>
                  <a:lnTo>
                    <a:pt x="563" y="948"/>
                  </a:lnTo>
                  <a:lnTo>
                    <a:pt x="539" y="901"/>
                  </a:lnTo>
                  <a:lnTo>
                    <a:pt x="518" y="855"/>
                  </a:lnTo>
                  <a:lnTo>
                    <a:pt x="498" y="811"/>
                  </a:lnTo>
                  <a:lnTo>
                    <a:pt x="484" y="767"/>
                  </a:lnTo>
                  <a:lnTo>
                    <a:pt x="472" y="723"/>
                  </a:lnTo>
                  <a:lnTo>
                    <a:pt x="465" y="683"/>
                  </a:lnTo>
                  <a:lnTo>
                    <a:pt x="459" y="642"/>
                  </a:lnTo>
                  <a:lnTo>
                    <a:pt x="458" y="602"/>
                  </a:lnTo>
                  <a:lnTo>
                    <a:pt x="458" y="602"/>
                  </a:lnTo>
                  <a:lnTo>
                    <a:pt x="459" y="570"/>
                  </a:lnTo>
                  <a:lnTo>
                    <a:pt x="465" y="537"/>
                  </a:lnTo>
                  <a:lnTo>
                    <a:pt x="474" y="503"/>
                  </a:lnTo>
                  <a:lnTo>
                    <a:pt x="486" y="468"/>
                  </a:lnTo>
                  <a:lnTo>
                    <a:pt x="502" y="433"/>
                  </a:lnTo>
                  <a:lnTo>
                    <a:pt x="523" y="398"/>
                  </a:lnTo>
                  <a:lnTo>
                    <a:pt x="546" y="361"/>
                  </a:lnTo>
                  <a:lnTo>
                    <a:pt x="572" y="324"/>
                  </a:lnTo>
                  <a:lnTo>
                    <a:pt x="604" y="287"/>
                  </a:lnTo>
                  <a:lnTo>
                    <a:pt x="637" y="248"/>
                  </a:lnTo>
                  <a:lnTo>
                    <a:pt x="674" y="208"/>
                  </a:lnTo>
                  <a:lnTo>
                    <a:pt x="716" y="167"/>
                  </a:lnTo>
                  <a:lnTo>
                    <a:pt x="760" y="127"/>
                  </a:lnTo>
                  <a:lnTo>
                    <a:pt x="810" y="84"/>
                  </a:lnTo>
                  <a:lnTo>
                    <a:pt x="861" y="42"/>
                  </a:lnTo>
                  <a:lnTo>
                    <a:pt x="917" y="0"/>
                  </a:lnTo>
                  <a:lnTo>
                    <a:pt x="917" y="0"/>
                  </a:lnTo>
                  <a:lnTo>
                    <a:pt x="926" y="56"/>
                  </a:lnTo>
                  <a:lnTo>
                    <a:pt x="938" y="111"/>
                  </a:lnTo>
                  <a:lnTo>
                    <a:pt x="951" y="165"/>
                  </a:lnTo>
                  <a:lnTo>
                    <a:pt x="966" y="222"/>
                  </a:lnTo>
                  <a:lnTo>
                    <a:pt x="984" y="276"/>
                  </a:lnTo>
                  <a:lnTo>
                    <a:pt x="1003" y="331"/>
                  </a:lnTo>
                  <a:lnTo>
                    <a:pt x="1025" y="385"/>
                  </a:lnTo>
                  <a:lnTo>
                    <a:pt x="1047" y="438"/>
                  </a:lnTo>
                  <a:lnTo>
                    <a:pt x="1074" y="493"/>
                  </a:lnTo>
                  <a:lnTo>
                    <a:pt x="1102" y="547"/>
                  </a:lnTo>
                  <a:lnTo>
                    <a:pt x="1130" y="600"/>
                  </a:lnTo>
                  <a:lnTo>
                    <a:pt x="1162" y="654"/>
                  </a:lnTo>
                  <a:lnTo>
                    <a:pt x="1197" y="707"/>
                  </a:lnTo>
                  <a:lnTo>
                    <a:pt x="1232" y="760"/>
                  </a:lnTo>
                  <a:lnTo>
                    <a:pt x="1269" y="813"/>
                  </a:lnTo>
                  <a:lnTo>
                    <a:pt x="1310" y="866"/>
                  </a:lnTo>
                  <a:lnTo>
                    <a:pt x="1396" y="975"/>
                  </a:lnTo>
                  <a:lnTo>
                    <a:pt x="1465" y="887"/>
                  </a:lnTo>
                  <a:lnTo>
                    <a:pt x="1465" y="887"/>
                  </a:lnTo>
                  <a:lnTo>
                    <a:pt x="1524" y="813"/>
                  </a:lnTo>
                  <a:lnTo>
                    <a:pt x="1583" y="742"/>
                  </a:lnTo>
                  <a:lnTo>
                    <a:pt x="1641" y="679"/>
                  </a:lnTo>
                  <a:lnTo>
                    <a:pt x="1699" y="619"/>
                  </a:lnTo>
                  <a:lnTo>
                    <a:pt x="1755" y="563"/>
                  </a:lnTo>
                  <a:lnTo>
                    <a:pt x="1811" y="514"/>
                  </a:lnTo>
                  <a:lnTo>
                    <a:pt x="1866" y="468"/>
                  </a:lnTo>
                  <a:lnTo>
                    <a:pt x="1921" y="427"/>
                  </a:lnTo>
                  <a:lnTo>
                    <a:pt x="1975" y="392"/>
                  </a:lnTo>
                  <a:lnTo>
                    <a:pt x="2028" y="361"/>
                  </a:lnTo>
                  <a:lnTo>
                    <a:pt x="2081" y="334"/>
                  </a:lnTo>
                  <a:lnTo>
                    <a:pt x="2132" y="313"/>
                  </a:lnTo>
                  <a:lnTo>
                    <a:pt x="2158" y="304"/>
                  </a:lnTo>
                  <a:lnTo>
                    <a:pt x="2183" y="296"/>
                  </a:lnTo>
                  <a:lnTo>
                    <a:pt x="2209" y="289"/>
                  </a:lnTo>
                  <a:lnTo>
                    <a:pt x="2234" y="283"/>
                  </a:lnTo>
                  <a:lnTo>
                    <a:pt x="2259" y="280"/>
                  </a:lnTo>
                  <a:lnTo>
                    <a:pt x="2283" y="276"/>
                  </a:lnTo>
                  <a:lnTo>
                    <a:pt x="2308" y="274"/>
                  </a:lnTo>
                  <a:lnTo>
                    <a:pt x="2333" y="274"/>
                  </a:lnTo>
                  <a:lnTo>
                    <a:pt x="2333" y="274"/>
                  </a:lnTo>
                  <a:lnTo>
                    <a:pt x="2369" y="276"/>
                  </a:lnTo>
                  <a:lnTo>
                    <a:pt x="2406" y="281"/>
                  </a:lnTo>
                  <a:lnTo>
                    <a:pt x="2442" y="290"/>
                  </a:lnTo>
                  <a:lnTo>
                    <a:pt x="2475" y="303"/>
                  </a:lnTo>
                  <a:lnTo>
                    <a:pt x="2509" y="320"/>
                  </a:lnTo>
                  <a:lnTo>
                    <a:pt x="2540" y="340"/>
                  </a:lnTo>
                  <a:lnTo>
                    <a:pt x="2570" y="362"/>
                  </a:lnTo>
                  <a:lnTo>
                    <a:pt x="2600" y="391"/>
                  </a:lnTo>
                  <a:lnTo>
                    <a:pt x="2628" y="420"/>
                  </a:lnTo>
                  <a:lnTo>
                    <a:pt x="2655" y="456"/>
                  </a:lnTo>
                  <a:lnTo>
                    <a:pt x="2681" y="493"/>
                  </a:lnTo>
                  <a:lnTo>
                    <a:pt x="2706" y="535"/>
                  </a:lnTo>
                  <a:lnTo>
                    <a:pt x="2730" y="581"/>
                  </a:lnTo>
                  <a:lnTo>
                    <a:pt x="2751" y="630"/>
                  </a:lnTo>
                  <a:lnTo>
                    <a:pt x="2774" y="681"/>
                  </a:lnTo>
                  <a:lnTo>
                    <a:pt x="2794" y="737"/>
                  </a:lnTo>
                  <a:lnTo>
                    <a:pt x="2794" y="737"/>
                  </a:lnTo>
                  <a:lnTo>
                    <a:pt x="2755" y="734"/>
                  </a:lnTo>
                  <a:lnTo>
                    <a:pt x="2729" y="732"/>
                  </a:lnTo>
                  <a:lnTo>
                    <a:pt x="2729" y="732"/>
                  </a:lnTo>
                  <a:lnTo>
                    <a:pt x="2711" y="732"/>
                  </a:lnTo>
                  <a:lnTo>
                    <a:pt x="2692" y="735"/>
                  </a:lnTo>
                  <a:lnTo>
                    <a:pt x="2672" y="739"/>
                  </a:lnTo>
                  <a:lnTo>
                    <a:pt x="2653" y="744"/>
                  </a:lnTo>
                  <a:lnTo>
                    <a:pt x="2632" y="749"/>
                  </a:lnTo>
                  <a:lnTo>
                    <a:pt x="2609" y="758"/>
                  </a:lnTo>
                  <a:lnTo>
                    <a:pt x="2563" y="778"/>
                  </a:lnTo>
                  <a:lnTo>
                    <a:pt x="2512" y="804"/>
                  </a:lnTo>
                  <a:lnTo>
                    <a:pt x="2459" y="836"/>
                  </a:lnTo>
                  <a:lnTo>
                    <a:pt x="2401" y="873"/>
                  </a:lnTo>
                  <a:lnTo>
                    <a:pt x="2341" y="917"/>
                  </a:lnTo>
                  <a:lnTo>
                    <a:pt x="2341" y="917"/>
                  </a:lnTo>
                  <a:lnTo>
                    <a:pt x="2280" y="964"/>
                  </a:lnTo>
                  <a:lnTo>
                    <a:pt x="2222" y="1012"/>
                  </a:lnTo>
                  <a:lnTo>
                    <a:pt x="2165" y="1063"/>
                  </a:lnTo>
                  <a:lnTo>
                    <a:pt x="2111" y="1114"/>
                  </a:lnTo>
                  <a:lnTo>
                    <a:pt x="2060" y="1166"/>
                  </a:lnTo>
                  <a:lnTo>
                    <a:pt x="2010" y="1221"/>
                  </a:lnTo>
                  <a:lnTo>
                    <a:pt x="1965" y="1275"/>
                  </a:lnTo>
                  <a:lnTo>
                    <a:pt x="1921" y="1333"/>
                  </a:lnTo>
                  <a:lnTo>
                    <a:pt x="1834" y="1450"/>
                  </a:lnTo>
                  <a:lnTo>
                    <a:pt x="1917" y="1531"/>
                  </a:lnTo>
                  <a:lnTo>
                    <a:pt x="1917" y="1531"/>
                  </a:lnTo>
                  <a:lnTo>
                    <a:pt x="1975" y="1585"/>
                  </a:lnTo>
                  <a:lnTo>
                    <a:pt x="2033" y="1636"/>
                  </a:lnTo>
                  <a:lnTo>
                    <a:pt x="2091" y="1682"/>
                  </a:lnTo>
                  <a:lnTo>
                    <a:pt x="2149" y="1726"/>
                  </a:lnTo>
                  <a:lnTo>
                    <a:pt x="2209" y="1766"/>
                  </a:lnTo>
                  <a:lnTo>
                    <a:pt x="2269" y="1803"/>
                  </a:lnTo>
                  <a:lnTo>
                    <a:pt x="2329" y="1837"/>
                  </a:lnTo>
                  <a:lnTo>
                    <a:pt x="2389" y="1867"/>
                  </a:lnTo>
                  <a:lnTo>
                    <a:pt x="2449" y="1891"/>
                  </a:lnTo>
                  <a:lnTo>
                    <a:pt x="2510" y="1914"/>
                  </a:lnTo>
                  <a:lnTo>
                    <a:pt x="2570" y="1933"/>
                  </a:lnTo>
                  <a:lnTo>
                    <a:pt x="2632" y="1949"/>
                  </a:lnTo>
                  <a:lnTo>
                    <a:pt x="2693" y="1962"/>
                  </a:lnTo>
                  <a:lnTo>
                    <a:pt x="2755" y="1970"/>
                  </a:lnTo>
                  <a:lnTo>
                    <a:pt x="2817" y="1976"/>
                  </a:lnTo>
                  <a:lnTo>
                    <a:pt x="2880" y="1977"/>
                  </a:lnTo>
                  <a:lnTo>
                    <a:pt x="2880" y="1977"/>
                  </a:lnTo>
                  <a:lnTo>
                    <a:pt x="2847" y="2042"/>
                  </a:lnTo>
                  <a:lnTo>
                    <a:pt x="2813" y="2104"/>
                  </a:lnTo>
                  <a:lnTo>
                    <a:pt x="2778" y="2162"/>
                  </a:lnTo>
                  <a:lnTo>
                    <a:pt x="2744" y="2215"/>
                  </a:lnTo>
                  <a:lnTo>
                    <a:pt x="2709" y="2262"/>
                  </a:lnTo>
                  <a:lnTo>
                    <a:pt x="2674" y="2308"/>
                  </a:lnTo>
                  <a:lnTo>
                    <a:pt x="2641" y="2349"/>
                  </a:lnTo>
                  <a:lnTo>
                    <a:pt x="2605" y="2384"/>
                  </a:lnTo>
                  <a:lnTo>
                    <a:pt x="2570" y="2415"/>
                  </a:lnTo>
                  <a:lnTo>
                    <a:pt x="2535" y="2444"/>
                  </a:lnTo>
                  <a:lnTo>
                    <a:pt x="2498" y="2466"/>
                  </a:lnTo>
                  <a:lnTo>
                    <a:pt x="2463" y="2486"/>
                  </a:lnTo>
                  <a:lnTo>
                    <a:pt x="2428" y="2500"/>
                  </a:lnTo>
                  <a:lnTo>
                    <a:pt x="2391" y="2510"/>
                  </a:lnTo>
                  <a:lnTo>
                    <a:pt x="2355" y="2517"/>
                  </a:lnTo>
                  <a:lnTo>
                    <a:pt x="2336" y="2519"/>
                  </a:lnTo>
                  <a:lnTo>
                    <a:pt x="2318" y="2519"/>
                  </a:lnTo>
                  <a:lnTo>
                    <a:pt x="2318" y="2519"/>
                  </a:lnTo>
                  <a:lnTo>
                    <a:pt x="2285" y="2517"/>
                  </a:lnTo>
                  <a:lnTo>
                    <a:pt x="2248" y="2512"/>
                  </a:lnTo>
                  <a:lnTo>
                    <a:pt x="2211" y="2503"/>
                  </a:lnTo>
                  <a:lnTo>
                    <a:pt x="2172" y="2491"/>
                  </a:lnTo>
                  <a:lnTo>
                    <a:pt x="2130" y="2473"/>
                  </a:lnTo>
                  <a:lnTo>
                    <a:pt x="2088" y="2454"/>
                  </a:lnTo>
                  <a:lnTo>
                    <a:pt x="2042" y="2431"/>
                  </a:lnTo>
                  <a:lnTo>
                    <a:pt x="1996" y="2403"/>
                  </a:lnTo>
                  <a:lnTo>
                    <a:pt x="1947" y="2373"/>
                  </a:lnTo>
                  <a:lnTo>
                    <a:pt x="1898" y="2338"/>
                  </a:lnTo>
                  <a:lnTo>
                    <a:pt x="1845" y="2301"/>
                  </a:lnTo>
                  <a:lnTo>
                    <a:pt x="1790" y="2259"/>
                  </a:lnTo>
                  <a:lnTo>
                    <a:pt x="1734" y="2215"/>
                  </a:lnTo>
                  <a:lnTo>
                    <a:pt x="1678" y="2166"/>
                  </a:lnTo>
                  <a:lnTo>
                    <a:pt x="1618" y="2113"/>
                  </a:lnTo>
                  <a:lnTo>
                    <a:pt x="1556" y="2057"/>
                  </a:lnTo>
                  <a:lnTo>
                    <a:pt x="1424" y="1937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4577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9631" y="1968335"/>
            <a:ext cx="4869019" cy="615553"/>
          </a:xfrm>
        </p:spPr>
        <p:txBody>
          <a:bodyPr/>
          <a:lstStyle/>
          <a:p>
            <a:r>
              <a:rPr lang="en-GB" dirty="0"/>
              <a:t>PERSEUS</a:t>
            </a:r>
            <a:r>
              <a:rPr lang="en-GB" baseline="30000" dirty="0"/>
              <a:t>®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9631" y="3189942"/>
            <a:ext cx="4664021" cy="461665"/>
          </a:xfrm>
        </p:spPr>
        <p:txBody>
          <a:bodyPr/>
          <a:lstStyle/>
          <a:p>
            <a:r>
              <a:rPr lang="en-GB" dirty="0" smtClean="0"/>
              <a:t>Live Demo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GB" dirty="0" smtClean="0"/>
              <a:t>20/05/201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95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igh-Level Challenges of GPU utilization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790832" y="1507524"/>
            <a:ext cx="7685903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The GPU is almost always wider than expected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Major limiting factor is the use of shared resource (e.g. registers)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Despite having high “occupancy” (limit, in fact), the achieved utilization can still remain low in lack of enough HW threads in the problem domain: both arithmetic and latency becomes apparent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Depending on the particular program, the lifetime of HW threads may be uneven, so that utilization turns into a temporal problem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Sub-optimal utilization disables the software’s scaling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Scalar scaling patterns may return: a trajectory of rising IPC should be desirable even for GPUs, as well as scalar latency hiding techniques, such as out-of-order execution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On an arbitrarily wide GPU, the behaviour tends to converge to scalar system behaviour</a:t>
            </a:r>
            <a:endParaRPr lang="en-GB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61091" y="6519446"/>
            <a:ext cx="4713983" cy="338554"/>
          </a:xfrm>
        </p:spPr>
        <p:txBody>
          <a:bodyPr/>
          <a:lstStyle/>
          <a:p>
            <a:pPr algn="l"/>
            <a:r>
              <a:rPr lang="en-US" sz="1200" b="1" dirty="0" smtClean="0"/>
              <a:t>I</a:t>
            </a:r>
            <a:r>
              <a:rPr lang="en-GB" sz="1200" b="1" dirty="0" smtClean="0"/>
              <a:t>mage </a:t>
            </a:r>
            <a:r>
              <a:rPr lang="en-GB" sz="1200" b="1" dirty="0"/>
              <a:t>and Video Compression in the Age of Massive Parallelism</a:t>
            </a:r>
          </a:p>
          <a:p>
            <a:pPr algn="l"/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477979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ticular Challenges of GPU utilization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790832" y="1507524"/>
            <a:ext cx="7685903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In theory, only the data dependencies are limiting parallelism, but: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In low latency environment, the temporal constraints may override it (intra-frame)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Multi-streaming in theory is a Swiss army knife, except…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Not all state-of-the-art GPU architecture champions a competent HW scheduler (CC 3.0)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What is better: local or global under-utilization?</a:t>
            </a:r>
          </a:p>
          <a:p>
            <a:pPr marL="285750" indent="-285750">
              <a:buFontTx/>
              <a:buChar char="-"/>
            </a:pPr>
            <a:endParaRPr lang="en-GB" dirty="0"/>
          </a:p>
          <a:p>
            <a:r>
              <a:rPr lang="en-GB" dirty="0" smtClean="0"/>
              <a:t>Highlights for APU/SoC targets: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In general easier to achieve high utilization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More prone to bandwidth limitations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Present: heterogeneous operations finally enabled, so that one can fine-tune for the ideal blend of massively parallel or more scalar-like workloads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Future: better cache coherence -&gt; less redundant cache evictions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61091" y="6519446"/>
            <a:ext cx="4713983" cy="338554"/>
          </a:xfrm>
        </p:spPr>
        <p:txBody>
          <a:bodyPr/>
          <a:lstStyle/>
          <a:p>
            <a:pPr algn="l"/>
            <a:r>
              <a:rPr lang="en-US" sz="1200" b="1" dirty="0" smtClean="0"/>
              <a:t>I</a:t>
            </a:r>
            <a:r>
              <a:rPr lang="en-GB" sz="1200" b="1" dirty="0" smtClean="0"/>
              <a:t>mage </a:t>
            </a:r>
            <a:r>
              <a:rPr lang="en-GB" sz="1200" b="1" dirty="0"/>
              <a:t>and Video Compression in the Age of Massive Parallelism</a:t>
            </a:r>
          </a:p>
          <a:p>
            <a:pPr algn="l"/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957395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UDA Debriefing for OpenCL Developers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790832" y="1507524"/>
            <a:ext cx="768590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Significant design differences, watch out for: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Event objects: synchronization guarantees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Event synchronization: default is “finished”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Blocking sync: busy waiting is a valid implementation, based on heuristics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Event sync: is having different wait behaviour</a:t>
            </a:r>
            <a:endParaRPr lang="en-GB" dirty="0"/>
          </a:p>
          <a:p>
            <a:pPr marL="285750" indent="-285750">
              <a:buFontTx/>
              <a:buChar char="-"/>
            </a:pPr>
            <a:r>
              <a:rPr lang="en-GB" dirty="0" smtClean="0"/>
              <a:t>Thread safety: context sharing is the default, so one may encounter more data races than normally assumed (constant buffers)</a:t>
            </a:r>
          </a:p>
          <a:p>
            <a:pPr marL="285750" indent="-285750">
              <a:buFontTx/>
              <a:buChar char="-"/>
            </a:pPr>
            <a:r>
              <a:rPr lang="en-GB" dirty="0" smtClean="0"/>
              <a:t>Asynchronous error handling: it is possible to reset the error status – except when it is not (streams)</a:t>
            </a: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961091" y="6519446"/>
            <a:ext cx="4713983" cy="338554"/>
          </a:xfrm>
        </p:spPr>
        <p:txBody>
          <a:bodyPr/>
          <a:lstStyle/>
          <a:p>
            <a:pPr algn="l"/>
            <a:r>
              <a:rPr lang="en-US" sz="1200" b="1" dirty="0" smtClean="0"/>
              <a:t>I</a:t>
            </a:r>
            <a:r>
              <a:rPr lang="en-GB" sz="1200" b="1" dirty="0" smtClean="0"/>
              <a:t>mage </a:t>
            </a:r>
            <a:r>
              <a:rPr lang="en-GB" sz="1200" b="1" dirty="0"/>
              <a:t>and Video Compression in the Age of Massive Parallelism</a:t>
            </a:r>
          </a:p>
          <a:p>
            <a:pPr algn="l"/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4216299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000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V-Nova Story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8" b="13338"/>
          <a:stretch/>
        </p:blipFill>
        <p:spPr>
          <a:xfrm>
            <a:off x="0" y="1141480"/>
            <a:ext cx="3657600" cy="5136047"/>
          </a:xfrm>
          <a:prstGeom prst="rect">
            <a:avLst/>
          </a:prstGeom>
        </p:spPr>
      </p:pic>
      <p:sp>
        <p:nvSpPr>
          <p:cNvPr id="13" name="Rechteck 15"/>
          <p:cNvSpPr/>
          <p:nvPr/>
        </p:nvSpPr>
        <p:spPr>
          <a:xfrm rot="5400000" flipV="1">
            <a:off x="93670" y="2721625"/>
            <a:ext cx="5152105" cy="197575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3657602" y="3338916"/>
            <a:ext cx="501808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3657602" y="4671411"/>
            <a:ext cx="501808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10"/>
          <p:cNvSpPr txBox="1"/>
          <p:nvPr/>
        </p:nvSpPr>
        <p:spPr>
          <a:xfrm>
            <a:off x="3634094" y="1141480"/>
            <a:ext cx="5055901" cy="2108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solidFill>
                  <a:schemeClr val="accent5"/>
                </a:solidFill>
              </a:rPr>
              <a:t>Company: V-Nova</a:t>
            </a:r>
            <a:r>
              <a:rPr lang="en-US" sz="1400" b="1" dirty="0" smtClean="0">
                <a:solidFill>
                  <a:srgbClr val="0E326F"/>
                </a:solidFill>
              </a:rPr>
              <a:t>™</a:t>
            </a:r>
            <a:endParaRPr lang="en-US" sz="1400" b="1" dirty="0">
              <a:solidFill>
                <a:schemeClr val="accent5"/>
              </a:solidFill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400" dirty="0" smtClean="0"/>
              <a:t>Incorporated in 2011</a:t>
            </a:r>
            <a:r>
              <a:rPr lang="en-GB" sz="1400" dirty="0"/>
              <a:t>, </a:t>
            </a:r>
            <a:r>
              <a:rPr lang="en-GB" sz="1400" dirty="0" smtClean="0"/>
              <a:t>V-Nova </a:t>
            </a:r>
            <a:r>
              <a:rPr lang="en-GB" sz="1400" dirty="0"/>
              <a:t>is an advanced video and image processing systems provider serving multiple industry segments, including broadcasting, aerospace, security, video conferencing, medical imaging, teleconferencing and telematics</a:t>
            </a:r>
            <a:endParaRPr lang="en-US" sz="1400" dirty="0" smtClean="0"/>
          </a:p>
          <a:p>
            <a:pPr marL="1074738" lvl="1" indent="-107315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dirty="0" smtClean="0"/>
              <a:t>Operations:	London (HQ), Boston, Delhi, Milan, Munich</a:t>
            </a:r>
            <a:r>
              <a:rPr lang="en-US" sz="1400" dirty="0"/>
              <a:t>*</a:t>
            </a:r>
            <a:endParaRPr lang="en-US" sz="1400" i="1" dirty="0"/>
          </a:p>
          <a:p>
            <a:pPr marL="1074738" lvl="1" indent="-107315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dirty="0"/>
              <a:t>Employees:	&gt; </a:t>
            </a:r>
            <a:r>
              <a:rPr lang="en-US" sz="1400" dirty="0" smtClean="0"/>
              <a:t>50</a:t>
            </a:r>
            <a:endParaRPr lang="en-US" sz="1400" dirty="0"/>
          </a:p>
          <a:p>
            <a:pPr marL="1074738" lvl="1" indent="-107315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dirty="0" smtClean="0"/>
              <a:t>Directors:	Guido </a:t>
            </a:r>
            <a:r>
              <a:rPr lang="en-US" sz="1400" dirty="0"/>
              <a:t>Meardi, Eric </a:t>
            </a:r>
            <a:r>
              <a:rPr lang="en-US" sz="1400" dirty="0" smtClean="0"/>
              <a:t>Achtmann</a:t>
            </a:r>
          </a:p>
        </p:txBody>
      </p:sp>
      <p:sp>
        <p:nvSpPr>
          <p:cNvPr id="28" name="Rectangle 10"/>
          <p:cNvSpPr txBox="1"/>
          <p:nvPr/>
        </p:nvSpPr>
        <p:spPr>
          <a:xfrm>
            <a:off x="3684407" y="3428083"/>
            <a:ext cx="4991281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 smtClean="0">
                <a:solidFill>
                  <a:srgbClr val="0E326F"/>
                </a:solidFill>
              </a:rPr>
              <a:t>Immediate success of PERSEUS</a:t>
            </a:r>
            <a:r>
              <a:rPr lang="en-US" sz="1400" b="1" baseline="30000" dirty="0" smtClean="0">
                <a:solidFill>
                  <a:srgbClr val="0E326F"/>
                </a:solidFill>
              </a:rPr>
              <a:t>®</a:t>
            </a:r>
            <a:endParaRPr lang="en-US" sz="1400" b="1" baseline="30000" dirty="0">
              <a:solidFill>
                <a:srgbClr val="0E326F"/>
              </a:solidFill>
            </a:endParaRPr>
          </a:p>
          <a:p>
            <a:pPr marL="0" lvl="1" indent="0">
              <a:spcBef>
                <a:spcPts val="0"/>
              </a:spcBef>
              <a:spcAft>
                <a:spcPts val="600"/>
              </a:spcAft>
              <a:buSzTx/>
              <a:buNone/>
            </a:pPr>
            <a:r>
              <a:rPr lang="en-GB" sz="1400" dirty="0" smtClean="0"/>
              <a:t>Just 2 weeks after its public announcement, PERSEUS already won the best encoder technology of the show at NAB!</a:t>
            </a:r>
            <a:endParaRPr lang="en-US" sz="1400" dirty="0"/>
          </a:p>
        </p:txBody>
      </p:sp>
      <p:sp>
        <p:nvSpPr>
          <p:cNvPr id="33" name="Rectangle 10"/>
          <p:cNvSpPr txBox="1"/>
          <p:nvPr/>
        </p:nvSpPr>
        <p:spPr>
          <a:xfrm>
            <a:off x="3684407" y="4760577"/>
            <a:ext cx="399505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rgbClr val="0E326F"/>
                </a:solidFill>
              </a:rPr>
              <a:t>Consortium:</a:t>
            </a:r>
            <a:endParaRPr lang="en-US" sz="1400" b="1" dirty="0">
              <a:solidFill>
                <a:srgbClr val="0E326F"/>
              </a:solidFill>
            </a:endParaRPr>
          </a:p>
        </p:txBody>
      </p:sp>
      <p:pic>
        <p:nvPicPr>
          <p:cNvPr id="19" name="Picture 9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9784" y="5749666"/>
            <a:ext cx="1062779" cy="584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14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546" y="5367205"/>
            <a:ext cx="1050475" cy="228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3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6519" y="5776885"/>
            <a:ext cx="1155375" cy="353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67" descr="ATOS Logo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74" b="21056"/>
          <a:stretch/>
        </p:blipFill>
        <p:spPr bwMode="auto">
          <a:xfrm>
            <a:off x="6692446" y="4937949"/>
            <a:ext cx="962025" cy="362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69" descr="Broadcom 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407" y="5811081"/>
            <a:ext cx="972180" cy="520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73" descr="Empixpro 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9465" y="4892995"/>
            <a:ext cx="953098" cy="289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75" descr="Hitachi 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524" y="4994632"/>
            <a:ext cx="1231973" cy="357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7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094" y="5037523"/>
            <a:ext cx="724813" cy="460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184" descr="Tata Sky Logo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887" y="5367205"/>
            <a:ext cx="1104900" cy="390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65" descr="Aton Hawk 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684" y="5132650"/>
            <a:ext cx="548311" cy="653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6" b="6318"/>
          <a:stretch/>
        </p:blipFill>
        <p:spPr bwMode="auto">
          <a:xfrm>
            <a:off x="4726304" y="5908240"/>
            <a:ext cx="1081265" cy="425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51" descr="C:\Users\Giles Smyth\AppData\Local\Temp\wzea6f\Digital_intel\intel_rgb_3000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2751" y="5230088"/>
            <a:ext cx="731254" cy="482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02" descr="NVIDIA Logo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866" y="5471159"/>
            <a:ext cx="593021" cy="437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4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511" y="5770349"/>
            <a:ext cx="985236" cy="275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7552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PREVIOUSNAME" val="C:\Users\Deepalakshmi N Mural\Desktop\Important template designing files\2010 Baseform.potx"/>
  <p:tag name="ISNEWSLIDENUMBER" val="False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2&quot;&gt;&lt;elem m_fUsage=&quot;1.00000000000000000000E+000&quot;&gt;&lt;m_msothmcolidx val=&quot;0&quot;/&gt;&lt;m_rgb r=&quot;e&quot; g=&quot;32&quot; b=&quot;6f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32&quot; g=&quot;74&quot; b=&quot;e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VDOMbJjkiq_eBrTUtT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V-Nova_CF_NGW019">
  <a:themeElements>
    <a:clrScheme name="Current">
      <a:dk1>
        <a:srgbClr val="141313"/>
      </a:dk1>
      <a:lt1>
        <a:srgbClr val="FFFFFF"/>
      </a:lt1>
      <a:dk2>
        <a:srgbClr val="141313"/>
      </a:dk2>
      <a:lt2>
        <a:srgbClr val="FFFFFF"/>
      </a:lt2>
      <a:accent1>
        <a:srgbClr val="8DDEC1"/>
      </a:accent1>
      <a:accent2>
        <a:srgbClr val="800000"/>
      </a:accent2>
      <a:accent3>
        <a:srgbClr val="3F3F42"/>
      </a:accent3>
      <a:accent4>
        <a:srgbClr val="DA80A0"/>
      </a:accent4>
      <a:accent5>
        <a:srgbClr val="0E326F"/>
      </a:accent5>
      <a:accent6>
        <a:srgbClr val="808080"/>
      </a:accent6>
      <a:hlink>
        <a:srgbClr val="3F3F42"/>
      </a:hlink>
      <a:folHlink>
        <a:srgbClr val="DA80A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141313"/>
        </a:dk1>
        <a:lt1>
          <a:srgbClr val="FFFFFF"/>
        </a:lt1>
        <a:dk2>
          <a:srgbClr val="141313"/>
        </a:dk2>
        <a:lt2>
          <a:srgbClr val="FFFFFF"/>
        </a:lt2>
        <a:accent1>
          <a:srgbClr val="8DDEC1"/>
        </a:accent1>
        <a:accent2>
          <a:srgbClr val="800000"/>
        </a:accent2>
        <a:accent3>
          <a:srgbClr val="3F3F42"/>
        </a:accent3>
        <a:accent4>
          <a:srgbClr val="DA80A0"/>
        </a:accent4>
        <a:accent5>
          <a:srgbClr val="0E326F"/>
        </a:accent5>
        <a:accent6>
          <a:srgbClr val="808080"/>
        </a:accent6>
        <a:hlink>
          <a:srgbClr val="3F3F42"/>
        </a:hlink>
        <a:folHlink>
          <a:srgbClr val="DA80A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 Baseform.potx" id="{2159DD3E-2A1C-4F97-A703-BAFC1D6962B2}" vid="{E96B58C4-C6ED-4B68-9616-32754B0CC41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-Nova_CF_NGW019</Template>
  <TotalTime>52408</TotalTime>
  <Words>716</Words>
  <Application>Microsoft Office PowerPoint</Application>
  <PresentationFormat>On-screen Show (4:3)</PresentationFormat>
  <Paragraphs>114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ＭＳ Ｐゴシック</vt:lpstr>
      <vt:lpstr>Arial</vt:lpstr>
      <vt:lpstr>V-Nova_CF_NGW019</vt:lpstr>
      <vt:lpstr>think-cell Slide</vt:lpstr>
      <vt:lpstr>PERSEUS®</vt:lpstr>
      <vt:lpstr>Major Design Principles Behind PERSEUS®</vt:lpstr>
      <vt:lpstr>PERSEUS simultaneously provides high compression, high quality, low latency and multi-scale functionality using standard hardware and infrastructure</vt:lpstr>
      <vt:lpstr>PERSEUS technical architecture vs. state-of-the-art alternatives</vt:lpstr>
      <vt:lpstr>PERSEUS®</vt:lpstr>
      <vt:lpstr>High-Level Challenges of GPU utilization</vt:lpstr>
      <vt:lpstr>Particular Challenges of GPU utilization</vt:lpstr>
      <vt:lpstr>CUDA Debriefing for OpenCL Developers</vt:lpstr>
      <vt:lpstr>The V-Nova Story</vt:lpstr>
      <vt:lpstr>V-Nova Recruiting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Giles Smyth</dc:creator>
  <cp:lastModifiedBy>Balázs Keszthelyi</cp:lastModifiedBy>
  <cp:revision>656</cp:revision>
  <cp:lastPrinted>2015-03-19T14:36:46Z</cp:lastPrinted>
  <dcterms:created xsi:type="dcterms:W3CDTF">2015-01-21T21:13:48Z</dcterms:created>
  <dcterms:modified xsi:type="dcterms:W3CDTF">2015-05-20T10:0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